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48" r:id="rId1"/>
    <p:sldMasterId id="2147483671" r:id="rId2"/>
  </p:sldMasterIdLst>
  <p:notesMasterIdLst>
    <p:notesMasterId r:id="rId42"/>
  </p:notesMasterIdLst>
  <p:handoutMasterIdLst>
    <p:handoutMasterId r:id="rId43"/>
  </p:handoutMasterIdLst>
  <p:sldIdLst>
    <p:sldId id="258" r:id="rId3"/>
    <p:sldId id="1390" r:id="rId4"/>
    <p:sldId id="291" r:id="rId5"/>
    <p:sldId id="309" r:id="rId6"/>
    <p:sldId id="293" r:id="rId7"/>
    <p:sldId id="1408" r:id="rId8"/>
    <p:sldId id="1405" r:id="rId9"/>
    <p:sldId id="1406" r:id="rId10"/>
    <p:sldId id="1421" r:id="rId11"/>
    <p:sldId id="1404" r:id="rId12"/>
    <p:sldId id="1432" r:id="rId13"/>
    <p:sldId id="1434" r:id="rId14"/>
    <p:sldId id="1407" r:id="rId15"/>
    <p:sldId id="1438" r:id="rId16"/>
    <p:sldId id="1439" r:id="rId17"/>
    <p:sldId id="1440" r:id="rId18"/>
    <p:sldId id="1441" r:id="rId19"/>
    <p:sldId id="1433" r:id="rId20"/>
    <p:sldId id="1409" r:id="rId21"/>
    <p:sldId id="1410" r:id="rId22"/>
    <p:sldId id="1411" r:id="rId23"/>
    <p:sldId id="1424" r:id="rId24"/>
    <p:sldId id="1412" r:id="rId25"/>
    <p:sldId id="1413" r:id="rId26"/>
    <p:sldId id="1414" r:id="rId27"/>
    <p:sldId id="1422" r:id="rId28"/>
    <p:sldId id="1417" r:id="rId29"/>
    <p:sldId id="1418" r:id="rId30"/>
    <p:sldId id="1429" r:id="rId31"/>
    <p:sldId id="1419" r:id="rId32"/>
    <p:sldId id="1435" r:id="rId33"/>
    <p:sldId id="1428" r:id="rId34"/>
    <p:sldId id="1436" r:id="rId35"/>
    <p:sldId id="1420" r:id="rId36"/>
    <p:sldId id="1427" r:id="rId37"/>
    <p:sldId id="294" r:id="rId38"/>
    <p:sldId id="311" r:id="rId39"/>
    <p:sldId id="1437" r:id="rId40"/>
    <p:sldId id="367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9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790420E-9405-4BD4-B564-E9D155AB0271}" name="ISLAM Maja (ESTAT)" initials="IM(" userId="S::maja.islam@ec.europa.eu::35fba04e-9592-40a8-9da0-1ce733da3906" providerId="AD"/>
  <p188:author id="{20B3132C-E2D1-1844-2DD7-C541C0600CF2}" name="STEENVOORDEN Tina (ESTAT-EXT)" initials="ST(E" userId="S::Tina.STEENVOORDEN@ext.ec.europa.eu::34ae7c2b-f9a7-4a0c-8254-b268a95718c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35DC1"/>
    <a:srgbClr val="0356B1"/>
    <a:srgbClr val="024EA2"/>
    <a:srgbClr val="024B9C"/>
    <a:srgbClr val="0044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3792" autoAdjust="0"/>
  </p:normalViewPr>
  <p:slideViewPr>
    <p:cSldViewPr snapToGrid="0">
      <p:cViewPr varScale="1">
        <p:scale>
          <a:sx n="62" d="100"/>
          <a:sy n="62" d="100"/>
        </p:scale>
        <p:origin x="712" y="56"/>
      </p:cViewPr>
      <p:guideLst>
        <p:guide orient="horz" pos="2092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handoutMaster" Target="handoutMasters/handoutMaster1.xml"/><Relationship Id="rId48" Type="http://schemas.microsoft.com/office/2018/10/relationships/authors" Target="authors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heme" Target="theme/theme1.xml"/><Relationship Id="rId20" Type="http://schemas.openxmlformats.org/officeDocument/2006/relationships/slide" Target="slides/slide18.xml"/><Relationship Id="rId41" Type="http://schemas.openxmlformats.org/officeDocument/2006/relationships/slide" Target="slides/slide39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svg"/><Relationship Id="rId1" Type="http://schemas.openxmlformats.org/officeDocument/2006/relationships/image" Target="../media/image11.png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36.sv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4" Type="http://schemas.openxmlformats.org/officeDocument/2006/relationships/image" Target="../media/image38.sv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4" Type="http://schemas.openxmlformats.org/officeDocument/2006/relationships/image" Target="../media/image38.sv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4" Type="http://schemas.openxmlformats.org/officeDocument/2006/relationships/image" Target="../media/image38.sv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4" Type="http://schemas.openxmlformats.org/officeDocument/2006/relationships/image" Target="../media/image38.svg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4" Type="http://schemas.openxmlformats.org/officeDocument/2006/relationships/image" Target="../media/image38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svg"/><Relationship Id="rId1" Type="http://schemas.openxmlformats.org/officeDocument/2006/relationships/image" Target="../media/image11.png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36.sv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4" Type="http://schemas.openxmlformats.org/officeDocument/2006/relationships/image" Target="../media/image38.sv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4" Type="http://schemas.openxmlformats.org/officeDocument/2006/relationships/image" Target="../media/image38.sv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4" Type="http://schemas.openxmlformats.org/officeDocument/2006/relationships/image" Target="../media/image38.sv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4" Type="http://schemas.openxmlformats.org/officeDocument/2006/relationships/image" Target="../media/image38.svg"/></Relationships>
</file>

<file path=ppt/diagrams/_rels/drawing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4.svg"/><Relationship Id="rId1" Type="http://schemas.openxmlformats.org/officeDocument/2006/relationships/image" Target="../media/image33.png"/><Relationship Id="rId4" Type="http://schemas.openxmlformats.org/officeDocument/2006/relationships/image" Target="../media/image3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E507147-A357-4BC7-A13D-D055BC7F3803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B5EEB89F-B51F-4315-B6E8-E6BB546DC1C8}">
      <dgm:prSet/>
      <dgm:spPr/>
      <dgm:t>
        <a:bodyPr/>
        <a:lstStyle/>
        <a:p>
          <a:r>
            <a:rPr lang="en-US" dirty="0"/>
            <a:t>review and update links to EMOS webpages on own communication channels (new URL address!)</a:t>
          </a:r>
        </a:p>
      </dgm:t>
    </dgm:pt>
    <dgm:pt modelId="{BC696346-4750-408A-8186-77914442A610}" type="parTrans" cxnId="{92B8A69E-0000-415A-83E2-C1C072A7105A}">
      <dgm:prSet/>
      <dgm:spPr/>
      <dgm:t>
        <a:bodyPr/>
        <a:lstStyle/>
        <a:p>
          <a:endParaRPr lang="en-US"/>
        </a:p>
      </dgm:t>
    </dgm:pt>
    <dgm:pt modelId="{94F58643-F520-465F-980A-90938B7871F8}" type="sibTrans" cxnId="{92B8A69E-0000-415A-83E2-C1C072A7105A}">
      <dgm:prSet/>
      <dgm:spPr/>
      <dgm:t>
        <a:bodyPr/>
        <a:lstStyle/>
        <a:p>
          <a:endParaRPr lang="en-US"/>
        </a:p>
      </dgm:t>
    </dgm:pt>
    <dgm:pt modelId="{56A108B6-A499-450E-8EC6-F178E9B46CA7}">
      <dgm:prSet/>
      <dgm:spPr/>
      <dgm:t>
        <a:bodyPr/>
        <a:lstStyle/>
        <a:p>
          <a:r>
            <a:rPr lang="en-US" dirty="0"/>
            <a:t>promote the new EMOS webpages</a:t>
          </a:r>
        </a:p>
      </dgm:t>
    </dgm:pt>
    <dgm:pt modelId="{1CBBE5CE-E421-4EA6-AACD-D2F78B509A97}" type="parTrans" cxnId="{E32E2086-8D17-4065-891B-1D52D37C32C6}">
      <dgm:prSet/>
      <dgm:spPr/>
      <dgm:t>
        <a:bodyPr/>
        <a:lstStyle/>
        <a:p>
          <a:endParaRPr lang="en-US"/>
        </a:p>
      </dgm:t>
    </dgm:pt>
    <dgm:pt modelId="{9CCD642B-9F5A-4FD0-B961-CDB2E86BA3C9}" type="sibTrans" cxnId="{E32E2086-8D17-4065-891B-1D52D37C32C6}">
      <dgm:prSet/>
      <dgm:spPr/>
      <dgm:t>
        <a:bodyPr/>
        <a:lstStyle/>
        <a:p>
          <a:endParaRPr lang="en-US"/>
        </a:p>
      </dgm:t>
    </dgm:pt>
    <dgm:pt modelId="{927AFC48-602A-441F-8899-E1328436E252}">
      <dgm:prSet/>
      <dgm:spPr/>
      <dgm:t>
        <a:bodyPr/>
        <a:lstStyle/>
        <a:p>
          <a:r>
            <a:rPr lang="en-US" dirty="0"/>
            <a:t>reuse and share information</a:t>
          </a:r>
        </a:p>
      </dgm:t>
    </dgm:pt>
    <dgm:pt modelId="{ABB2A2E4-A082-433A-B44A-EC6CB9265202}" type="parTrans" cxnId="{DA796879-C5B2-49E4-AE9C-A392A840CE62}">
      <dgm:prSet/>
      <dgm:spPr/>
      <dgm:t>
        <a:bodyPr/>
        <a:lstStyle/>
        <a:p>
          <a:endParaRPr lang="en-US"/>
        </a:p>
      </dgm:t>
    </dgm:pt>
    <dgm:pt modelId="{1A3E0D27-BDD5-414E-88E6-FC8D1E5242D4}" type="sibTrans" cxnId="{DA796879-C5B2-49E4-AE9C-A392A840CE62}">
      <dgm:prSet/>
      <dgm:spPr/>
      <dgm:t>
        <a:bodyPr/>
        <a:lstStyle/>
        <a:p>
          <a:endParaRPr lang="en-US"/>
        </a:p>
      </dgm:t>
    </dgm:pt>
    <dgm:pt modelId="{4E335B67-B37D-4553-B53A-1F4B717CB110}" type="pres">
      <dgm:prSet presAssocID="{5E507147-A357-4BC7-A13D-D055BC7F3803}" presName="root" presStyleCnt="0">
        <dgm:presLayoutVars>
          <dgm:dir/>
          <dgm:resizeHandles val="exact"/>
        </dgm:presLayoutVars>
      </dgm:prSet>
      <dgm:spPr/>
    </dgm:pt>
    <dgm:pt modelId="{AB7B637A-A117-4DF0-8B47-B551BBC78596}" type="pres">
      <dgm:prSet presAssocID="{B5EEB89F-B51F-4315-B6E8-E6BB546DC1C8}" presName="compNode" presStyleCnt="0"/>
      <dgm:spPr/>
    </dgm:pt>
    <dgm:pt modelId="{99BFAC8D-625E-40C2-9A9D-5E4EB993BC8B}" type="pres">
      <dgm:prSet presAssocID="{B5EEB89F-B51F-4315-B6E8-E6BB546DC1C8}" presName="bgRect" presStyleLbl="bgShp" presStyleIdx="0" presStyleCnt="3"/>
      <dgm:spPr/>
    </dgm:pt>
    <dgm:pt modelId="{72ADF586-C49B-4895-9462-F1BABFDAFE1C}" type="pres">
      <dgm:prSet presAssocID="{B5EEB89F-B51F-4315-B6E8-E6BB546DC1C8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nitor"/>
        </a:ext>
      </dgm:extLst>
    </dgm:pt>
    <dgm:pt modelId="{EE814760-7A51-4ACE-8C4A-6DB4B990BB70}" type="pres">
      <dgm:prSet presAssocID="{B5EEB89F-B51F-4315-B6E8-E6BB546DC1C8}" presName="spaceRect" presStyleCnt="0"/>
      <dgm:spPr/>
    </dgm:pt>
    <dgm:pt modelId="{354DE73E-C747-461B-8B21-1E5775CEB023}" type="pres">
      <dgm:prSet presAssocID="{B5EEB89F-B51F-4315-B6E8-E6BB546DC1C8}" presName="parTx" presStyleLbl="revTx" presStyleIdx="0" presStyleCnt="3">
        <dgm:presLayoutVars>
          <dgm:chMax val="0"/>
          <dgm:chPref val="0"/>
        </dgm:presLayoutVars>
      </dgm:prSet>
      <dgm:spPr/>
    </dgm:pt>
    <dgm:pt modelId="{5D0040B2-3D76-4FB7-B419-0B86171D5334}" type="pres">
      <dgm:prSet presAssocID="{94F58643-F520-465F-980A-90938B7871F8}" presName="sibTrans" presStyleCnt="0"/>
      <dgm:spPr/>
    </dgm:pt>
    <dgm:pt modelId="{5E49A019-C2AE-40E2-839E-0E49669296AB}" type="pres">
      <dgm:prSet presAssocID="{56A108B6-A499-450E-8EC6-F178E9B46CA7}" presName="compNode" presStyleCnt="0"/>
      <dgm:spPr/>
    </dgm:pt>
    <dgm:pt modelId="{F92E1199-E07B-4EDB-903A-B4F2A00F8842}" type="pres">
      <dgm:prSet presAssocID="{56A108B6-A499-450E-8EC6-F178E9B46CA7}" presName="bgRect" presStyleLbl="bgShp" presStyleIdx="1" presStyleCnt="3"/>
      <dgm:spPr/>
    </dgm:pt>
    <dgm:pt modelId="{8AFD978B-6B65-41D8-B273-91536701BE57}" type="pres">
      <dgm:prSet presAssocID="{56A108B6-A499-450E-8EC6-F178E9B46CA7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ting"/>
        </a:ext>
      </dgm:extLst>
    </dgm:pt>
    <dgm:pt modelId="{F448976D-F8D1-41BE-A138-D76D8E177BB7}" type="pres">
      <dgm:prSet presAssocID="{56A108B6-A499-450E-8EC6-F178E9B46CA7}" presName="spaceRect" presStyleCnt="0"/>
      <dgm:spPr/>
    </dgm:pt>
    <dgm:pt modelId="{8DB3F257-1D70-458F-A446-CF5DB8C15EBE}" type="pres">
      <dgm:prSet presAssocID="{56A108B6-A499-450E-8EC6-F178E9B46CA7}" presName="parTx" presStyleLbl="revTx" presStyleIdx="1" presStyleCnt="3">
        <dgm:presLayoutVars>
          <dgm:chMax val="0"/>
          <dgm:chPref val="0"/>
        </dgm:presLayoutVars>
      </dgm:prSet>
      <dgm:spPr/>
    </dgm:pt>
    <dgm:pt modelId="{1B349741-F5D4-4A25-A0A2-5A28C4F828E0}" type="pres">
      <dgm:prSet presAssocID="{9CCD642B-9F5A-4FD0-B961-CDB2E86BA3C9}" presName="sibTrans" presStyleCnt="0"/>
      <dgm:spPr/>
    </dgm:pt>
    <dgm:pt modelId="{7E386706-F699-46CA-ADEB-D4F55E0431C2}" type="pres">
      <dgm:prSet presAssocID="{927AFC48-602A-441F-8899-E1328436E252}" presName="compNode" presStyleCnt="0"/>
      <dgm:spPr/>
    </dgm:pt>
    <dgm:pt modelId="{D42CF332-6AA4-475D-A49A-11FB8D408011}" type="pres">
      <dgm:prSet presAssocID="{927AFC48-602A-441F-8899-E1328436E252}" presName="bgRect" presStyleLbl="bgShp" presStyleIdx="2" presStyleCnt="3"/>
      <dgm:spPr/>
    </dgm:pt>
    <dgm:pt modelId="{ACD5C7BD-0B38-46B3-8BCB-C0A36AE8971D}" type="pres">
      <dgm:prSet presAssocID="{927AFC48-602A-441F-8899-E1328436E252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hat"/>
        </a:ext>
      </dgm:extLst>
    </dgm:pt>
    <dgm:pt modelId="{E2D8CE44-647D-45BC-9028-EE0CE05F3EBF}" type="pres">
      <dgm:prSet presAssocID="{927AFC48-602A-441F-8899-E1328436E252}" presName="spaceRect" presStyleCnt="0"/>
      <dgm:spPr/>
    </dgm:pt>
    <dgm:pt modelId="{440DF360-6094-484D-B626-E5868B30E3C8}" type="pres">
      <dgm:prSet presAssocID="{927AFC48-602A-441F-8899-E1328436E252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16386D1E-A523-4B73-92A3-D60FF71A3657}" type="presOf" srcId="{5E507147-A357-4BC7-A13D-D055BC7F3803}" destId="{4E335B67-B37D-4553-B53A-1F4B717CB110}" srcOrd="0" destOrd="0" presId="urn:microsoft.com/office/officeart/2018/2/layout/IconVerticalSolidList"/>
    <dgm:cxn modelId="{D4C2392D-F96A-4FAE-B9E3-549B3287B19F}" type="presOf" srcId="{56A108B6-A499-450E-8EC6-F178E9B46CA7}" destId="{8DB3F257-1D70-458F-A446-CF5DB8C15EBE}" srcOrd="0" destOrd="0" presId="urn:microsoft.com/office/officeart/2018/2/layout/IconVerticalSolidList"/>
    <dgm:cxn modelId="{DA796879-C5B2-49E4-AE9C-A392A840CE62}" srcId="{5E507147-A357-4BC7-A13D-D055BC7F3803}" destId="{927AFC48-602A-441F-8899-E1328436E252}" srcOrd="2" destOrd="0" parTransId="{ABB2A2E4-A082-433A-B44A-EC6CB9265202}" sibTransId="{1A3E0D27-BDD5-414E-88E6-FC8D1E5242D4}"/>
    <dgm:cxn modelId="{E32E2086-8D17-4065-891B-1D52D37C32C6}" srcId="{5E507147-A357-4BC7-A13D-D055BC7F3803}" destId="{56A108B6-A499-450E-8EC6-F178E9B46CA7}" srcOrd="1" destOrd="0" parTransId="{1CBBE5CE-E421-4EA6-AACD-D2F78B509A97}" sibTransId="{9CCD642B-9F5A-4FD0-B961-CDB2E86BA3C9}"/>
    <dgm:cxn modelId="{6AF09687-2567-4D19-8F13-8560E3A7A6AD}" type="presOf" srcId="{B5EEB89F-B51F-4315-B6E8-E6BB546DC1C8}" destId="{354DE73E-C747-461B-8B21-1E5775CEB023}" srcOrd="0" destOrd="0" presId="urn:microsoft.com/office/officeart/2018/2/layout/IconVerticalSolidList"/>
    <dgm:cxn modelId="{92B8A69E-0000-415A-83E2-C1C072A7105A}" srcId="{5E507147-A357-4BC7-A13D-D055BC7F3803}" destId="{B5EEB89F-B51F-4315-B6E8-E6BB546DC1C8}" srcOrd="0" destOrd="0" parTransId="{BC696346-4750-408A-8186-77914442A610}" sibTransId="{94F58643-F520-465F-980A-90938B7871F8}"/>
    <dgm:cxn modelId="{B09858D0-1924-4D4E-892B-F01D31D0B9C9}" type="presOf" srcId="{927AFC48-602A-441F-8899-E1328436E252}" destId="{440DF360-6094-484D-B626-E5868B30E3C8}" srcOrd="0" destOrd="0" presId="urn:microsoft.com/office/officeart/2018/2/layout/IconVerticalSolidList"/>
    <dgm:cxn modelId="{A8E2B3F1-42E1-4D96-9BF7-8C4A07FF6C62}" type="presParOf" srcId="{4E335B67-B37D-4553-B53A-1F4B717CB110}" destId="{AB7B637A-A117-4DF0-8B47-B551BBC78596}" srcOrd="0" destOrd="0" presId="urn:microsoft.com/office/officeart/2018/2/layout/IconVerticalSolidList"/>
    <dgm:cxn modelId="{2903B689-917B-4EF2-AC3D-269BA4666AF2}" type="presParOf" srcId="{AB7B637A-A117-4DF0-8B47-B551BBC78596}" destId="{99BFAC8D-625E-40C2-9A9D-5E4EB993BC8B}" srcOrd="0" destOrd="0" presId="urn:microsoft.com/office/officeart/2018/2/layout/IconVerticalSolidList"/>
    <dgm:cxn modelId="{29DB1D85-5B78-47D5-AF56-354AD295EA32}" type="presParOf" srcId="{AB7B637A-A117-4DF0-8B47-B551BBC78596}" destId="{72ADF586-C49B-4895-9462-F1BABFDAFE1C}" srcOrd="1" destOrd="0" presId="urn:microsoft.com/office/officeart/2018/2/layout/IconVerticalSolidList"/>
    <dgm:cxn modelId="{20507AAA-8A67-4A94-A9EA-BC9D88261880}" type="presParOf" srcId="{AB7B637A-A117-4DF0-8B47-B551BBC78596}" destId="{EE814760-7A51-4ACE-8C4A-6DB4B990BB70}" srcOrd="2" destOrd="0" presId="urn:microsoft.com/office/officeart/2018/2/layout/IconVerticalSolidList"/>
    <dgm:cxn modelId="{C591DB06-CBCF-4057-9542-7596191481D8}" type="presParOf" srcId="{AB7B637A-A117-4DF0-8B47-B551BBC78596}" destId="{354DE73E-C747-461B-8B21-1E5775CEB023}" srcOrd="3" destOrd="0" presId="urn:microsoft.com/office/officeart/2018/2/layout/IconVerticalSolidList"/>
    <dgm:cxn modelId="{ACE78A63-D97D-49D2-AD53-41173F096376}" type="presParOf" srcId="{4E335B67-B37D-4553-B53A-1F4B717CB110}" destId="{5D0040B2-3D76-4FB7-B419-0B86171D5334}" srcOrd="1" destOrd="0" presId="urn:microsoft.com/office/officeart/2018/2/layout/IconVerticalSolidList"/>
    <dgm:cxn modelId="{6AC667CC-F7DF-4325-B6CF-00FA96B7F363}" type="presParOf" srcId="{4E335B67-B37D-4553-B53A-1F4B717CB110}" destId="{5E49A019-C2AE-40E2-839E-0E49669296AB}" srcOrd="2" destOrd="0" presId="urn:microsoft.com/office/officeart/2018/2/layout/IconVerticalSolidList"/>
    <dgm:cxn modelId="{A7F7AA86-5F7E-48F6-93DC-62513CFC4503}" type="presParOf" srcId="{5E49A019-C2AE-40E2-839E-0E49669296AB}" destId="{F92E1199-E07B-4EDB-903A-B4F2A00F8842}" srcOrd="0" destOrd="0" presId="urn:microsoft.com/office/officeart/2018/2/layout/IconVerticalSolidList"/>
    <dgm:cxn modelId="{D6C1C131-5038-4F8E-AFFB-B9D92ACBF4A7}" type="presParOf" srcId="{5E49A019-C2AE-40E2-839E-0E49669296AB}" destId="{8AFD978B-6B65-41D8-B273-91536701BE57}" srcOrd="1" destOrd="0" presId="urn:microsoft.com/office/officeart/2018/2/layout/IconVerticalSolidList"/>
    <dgm:cxn modelId="{ADCE8AF9-DAC8-4636-A607-8142870C9E3E}" type="presParOf" srcId="{5E49A019-C2AE-40E2-839E-0E49669296AB}" destId="{F448976D-F8D1-41BE-A138-D76D8E177BB7}" srcOrd="2" destOrd="0" presId="urn:microsoft.com/office/officeart/2018/2/layout/IconVerticalSolidList"/>
    <dgm:cxn modelId="{5DD335D8-295B-44B2-B13E-106B65B54DF0}" type="presParOf" srcId="{5E49A019-C2AE-40E2-839E-0E49669296AB}" destId="{8DB3F257-1D70-458F-A446-CF5DB8C15EBE}" srcOrd="3" destOrd="0" presId="urn:microsoft.com/office/officeart/2018/2/layout/IconVerticalSolidList"/>
    <dgm:cxn modelId="{FCBED1BE-28AE-44F1-8180-6B614B89C107}" type="presParOf" srcId="{4E335B67-B37D-4553-B53A-1F4B717CB110}" destId="{1B349741-F5D4-4A25-A0A2-5A28C4F828E0}" srcOrd="3" destOrd="0" presId="urn:microsoft.com/office/officeart/2018/2/layout/IconVerticalSolidList"/>
    <dgm:cxn modelId="{9E0D1523-DB46-478B-BFEA-BD748605A7F2}" type="presParOf" srcId="{4E335B67-B37D-4553-B53A-1F4B717CB110}" destId="{7E386706-F699-46CA-ADEB-D4F55E0431C2}" srcOrd="4" destOrd="0" presId="urn:microsoft.com/office/officeart/2018/2/layout/IconVerticalSolidList"/>
    <dgm:cxn modelId="{D8A22520-829E-4B61-AB0B-18A6B38FDFEB}" type="presParOf" srcId="{7E386706-F699-46CA-ADEB-D4F55E0431C2}" destId="{D42CF332-6AA4-475D-A49A-11FB8D408011}" srcOrd="0" destOrd="0" presId="urn:microsoft.com/office/officeart/2018/2/layout/IconVerticalSolidList"/>
    <dgm:cxn modelId="{D1CDD906-5D24-4499-A08E-92AFF231E350}" type="presParOf" srcId="{7E386706-F699-46CA-ADEB-D4F55E0431C2}" destId="{ACD5C7BD-0B38-46B3-8BCB-C0A36AE8971D}" srcOrd="1" destOrd="0" presId="urn:microsoft.com/office/officeart/2018/2/layout/IconVerticalSolidList"/>
    <dgm:cxn modelId="{F71FE7B8-1D6E-4298-B984-0E84276421C9}" type="presParOf" srcId="{7E386706-F699-46CA-ADEB-D4F55E0431C2}" destId="{E2D8CE44-647D-45BC-9028-EE0CE05F3EBF}" srcOrd="2" destOrd="0" presId="urn:microsoft.com/office/officeart/2018/2/layout/IconVerticalSolidList"/>
    <dgm:cxn modelId="{496FD328-3134-4310-983E-C6C98E16759D}" type="presParOf" srcId="{7E386706-F699-46CA-ADEB-D4F55E0431C2}" destId="{440DF360-6094-484D-B626-E5868B30E3C8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96C99FD-4D4A-4DBA-BFEF-CDEFF3906A2D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8BC5DDB4-937D-460E-B6F9-3A73F40D71D1}">
      <dgm:prSet/>
      <dgm:spPr/>
      <dgm:t>
        <a:bodyPr/>
        <a:lstStyle/>
        <a:p>
          <a:r>
            <a:rPr lang="en-US" dirty="0"/>
            <a:t>follow EMOS communication channels</a:t>
          </a:r>
        </a:p>
      </dgm:t>
    </dgm:pt>
    <dgm:pt modelId="{61371A88-D284-4F2E-8F5C-8DADA6114764}" type="parTrans" cxnId="{C15283C6-1FDD-4179-94FA-9A85F1AD9A77}">
      <dgm:prSet/>
      <dgm:spPr/>
      <dgm:t>
        <a:bodyPr/>
        <a:lstStyle/>
        <a:p>
          <a:endParaRPr lang="en-US"/>
        </a:p>
      </dgm:t>
    </dgm:pt>
    <dgm:pt modelId="{97B2B445-B6B9-4658-A565-896C4A0E8D5B}" type="sibTrans" cxnId="{C15283C6-1FDD-4179-94FA-9A85F1AD9A77}">
      <dgm:prSet/>
      <dgm:spPr/>
      <dgm:t>
        <a:bodyPr/>
        <a:lstStyle/>
        <a:p>
          <a:endParaRPr lang="en-US"/>
        </a:p>
      </dgm:t>
    </dgm:pt>
    <dgm:pt modelId="{217DC152-310B-45CA-A5D2-BB87994E2345}">
      <dgm:prSet/>
      <dgm:spPr/>
      <dgm:t>
        <a:bodyPr/>
        <a:lstStyle/>
        <a:p>
          <a:r>
            <a:rPr lang="en-US" dirty="0"/>
            <a:t>promote EMOS communication channels</a:t>
          </a:r>
        </a:p>
      </dgm:t>
    </dgm:pt>
    <dgm:pt modelId="{AAB88D76-614A-49FD-81E2-44B55C0F69B4}" type="parTrans" cxnId="{0F33ACF6-794C-4EDA-A2C2-A895E5EDFF1A}">
      <dgm:prSet/>
      <dgm:spPr/>
      <dgm:t>
        <a:bodyPr/>
        <a:lstStyle/>
        <a:p>
          <a:endParaRPr lang="en-US"/>
        </a:p>
      </dgm:t>
    </dgm:pt>
    <dgm:pt modelId="{B127D759-A92F-4AD5-85D7-35CFB2F3255E}" type="sibTrans" cxnId="{0F33ACF6-794C-4EDA-A2C2-A895E5EDFF1A}">
      <dgm:prSet/>
      <dgm:spPr/>
      <dgm:t>
        <a:bodyPr/>
        <a:lstStyle/>
        <a:p>
          <a:endParaRPr lang="en-US"/>
        </a:p>
      </dgm:t>
    </dgm:pt>
    <dgm:pt modelId="{CE844F1A-9FBD-4AFD-8C3C-054A1A3900D2}">
      <dgm:prSet/>
      <dgm:spPr/>
      <dgm:t>
        <a:bodyPr/>
        <a:lstStyle/>
        <a:p>
          <a:r>
            <a:rPr lang="en-US" dirty="0"/>
            <a:t>share updates and news to post</a:t>
          </a:r>
        </a:p>
      </dgm:t>
    </dgm:pt>
    <dgm:pt modelId="{500CB827-544C-4C16-8B28-D1BDFFA85614}" type="parTrans" cxnId="{18FF23E0-6D5F-4835-9689-2B97A19415EF}">
      <dgm:prSet/>
      <dgm:spPr/>
      <dgm:t>
        <a:bodyPr/>
        <a:lstStyle/>
        <a:p>
          <a:endParaRPr lang="en-US"/>
        </a:p>
      </dgm:t>
    </dgm:pt>
    <dgm:pt modelId="{0612EE3C-9B2F-41EE-9445-7E2D55B62484}" type="sibTrans" cxnId="{18FF23E0-6D5F-4835-9689-2B97A19415EF}">
      <dgm:prSet/>
      <dgm:spPr/>
      <dgm:t>
        <a:bodyPr/>
        <a:lstStyle/>
        <a:p>
          <a:endParaRPr lang="en-US"/>
        </a:p>
      </dgm:t>
    </dgm:pt>
    <dgm:pt modelId="{603337EA-BBA8-442E-86C4-F40F10D96FB0}" type="pres">
      <dgm:prSet presAssocID="{796C99FD-4D4A-4DBA-BFEF-CDEFF3906A2D}" presName="root" presStyleCnt="0">
        <dgm:presLayoutVars>
          <dgm:dir/>
          <dgm:resizeHandles val="exact"/>
        </dgm:presLayoutVars>
      </dgm:prSet>
      <dgm:spPr/>
    </dgm:pt>
    <dgm:pt modelId="{0A59E4CC-8C42-4715-827A-D649428A1ED8}" type="pres">
      <dgm:prSet presAssocID="{8BC5DDB4-937D-460E-B6F9-3A73F40D71D1}" presName="compNode" presStyleCnt="0"/>
      <dgm:spPr/>
    </dgm:pt>
    <dgm:pt modelId="{D316150A-4CDC-4E24-825B-7AE642B74852}" type="pres">
      <dgm:prSet presAssocID="{8BC5DDB4-937D-460E-B6F9-3A73F40D71D1}" presName="bgRect" presStyleLbl="bgShp" presStyleIdx="0" presStyleCnt="3"/>
      <dgm:spPr/>
    </dgm:pt>
    <dgm:pt modelId="{2DF7B464-2492-4D9E-A243-B7FF1AA34A7E}" type="pres">
      <dgm:prSet presAssocID="{8BC5DDB4-937D-460E-B6F9-3A73F40D71D1}" presName="iconRect" presStyleLbl="node1" presStyleIdx="0" presStyleCnt="3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ail"/>
        </a:ext>
      </dgm:extLst>
    </dgm:pt>
    <dgm:pt modelId="{D3544E66-DFF7-4CF9-80A6-57FEEA8EF963}" type="pres">
      <dgm:prSet presAssocID="{8BC5DDB4-937D-460E-B6F9-3A73F40D71D1}" presName="spaceRect" presStyleCnt="0"/>
      <dgm:spPr/>
    </dgm:pt>
    <dgm:pt modelId="{1FA7DB52-C926-4893-9660-855E2CE5A44E}" type="pres">
      <dgm:prSet presAssocID="{8BC5DDB4-937D-460E-B6F9-3A73F40D71D1}" presName="parTx" presStyleLbl="revTx" presStyleIdx="0" presStyleCnt="3">
        <dgm:presLayoutVars>
          <dgm:chMax val="0"/>
          <dgm:chPref val="0"/>
        </dgm:presLayoutVars>
      </dgm:prSet>
      <dgm:spPr/>
    </dgm:pt>
    <dgm:pt modelId="{38136413-DAD1-4229-BCAD-BC9FA6AA5826}" type="pres">
      <dgm:prSet presAssocID="{97B2B445-B6B9-4658-A565-896C4A0E8D5B}" presName="sibTrans" presStyleCnt="0"/>
      <dgm:spPr/>
    </dgm:pt>
    <dgm:pt modelId="{E47C5B2E-E8D4-4CEE-BAE0-6AEAE6391110}" type="pres">
      <dgm:prSet presAssocID="{217DC152-310B-45CA-A5D2-BB87994E2345}" presName="compNode" presStyleCnt="0"/>
      <dgm:spPr/>
    </dgm:pt>
    <dgm:pt modelId="{E52A420E-F65E-465C-A01D-C7F71BC8D3AC}" type="pres">
      <dgm:prSet presAssocID="{217DC152-310B-45CA-A5D2-BB87994E2345}" presName="bgRect" presStyleLbl="bgShp" presStyleIdx="1" presStyleCnt="3"/>
      <dgm:spPr/>
    </dgm:pt>
    <dgm:pt modelId="{56CA133A-8B18-44F8-ACA8-5DED06D6CFF2}" type="pres">
      <dgm:prSet presAssocID="{217DC152-310B-45CA-A5D2-BB87994E2345}" presName="iconRect" presStyleLbl="node1" presStyleIdx="1" presStyleCnt="3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onnections"/>
        </a:ext>
      </dgm:extLst>
    </dgm:pt>
    <dgm:pt modelId="{A1007151-B8D2-4C5D-B930-7DFB7F71F109}" type="pres">
      <dgm:prSet presAssocID="{217DC152-310B-45CA-A5D2-BB87994E2345}" presName="spaceRect" presStyleCnt="0"/>
      <dgm:spPr/>
    </dgm:pt>
    <dgm:pt modelId="{20A0ABAC-7412-4FA9-A794-5CCF4BF160AE}" type="pres">
      <dgm:prSet presAssocID="{217DC152-310B-45CA-A5D2-BB87994E2345}" presName="parTx" presStyleLbl="revTx" presStyleIdx="1" presStyleCnt="3">
        <dgm:presLayoutVars>
          <dgm:chMax val="0"/>
          <dgm:chPref val="0"/>
        </dgm:presLayoutVars>
      </dgm:prSet>
      <dgm:spPr/>
    </dgm:pt>
    <dgm:pt modelId="{0F5332EE-1195-4A3A-9D03-5CF00F626051}" type="pres">
      <dgm:prSet presAssocID="{B127D759-A92F-4AD5-85D7-35CFB2F3255E}" presName="sibTrans" presStyleCnt="0"/>
      <dgm:spPr/>
    </dgm:pt>
    <dgm:pt modelId="{827B8880-C256-469E-9F38-FD4FD8BAAE1A}" type="pres">
      <dgm:prSet presAssocID="{CE844F1A-9FBD-4AFD-8C3C-054A1A3900D2}" presName="compNode" presStyleCnt="0"/>
      <dgm:spPr/>
    </dgm:pt>
    <dgm:pt modelId="{60608BA8-E31A-4EC2-8DBC-FDC2B7ECF0F7}" type="pres">
      <dgm:prSet presAssocID="{CE844F1A-9FBD-4AFD-8C3C-054A1A3900D2}" presName="bgRect" presStyleLbl="bgShp" presStyleIdx="2" presStyleCnt="3"/>
      <dgm:spPr/>
    </dgm:pt>
    <dgm:pt modelId="{0FA6C24D-2F59-4DB1-85DD-6DAB31017E64}" type="pres">
      <dgm:prSet presAssocID="{CE844F1A-9FBD-4AFD-8C3C-054A1A3900D2}" presName="iconRect" presStyleLbl="node1" presStyleIdx="2" presStyleCnt="3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ting"/>
        </a:ext>
      </dgm:extLst>
    </dgm:pt>
    <dgm:pt modelId="{EAB54221-8D94-4944-96F5-E0FA1EFBD64E}" type="pres">
      <dgm:prSet presAssocID="{CE844F1A-9FBD-4AFD-8C3C-054A1A3900D2}" presName="spaceRect" presStyleCnt="0"/>
      <dgm:spPr/>
    </dgm:pt>
    <dgm:pt modelId="{9AC6B9D8-3D1A-4CE9-BA2B-5DC918EE8B84}" type="pres">
      <dgm:prSet presAssocID="{CE844F1A-9FBD-4AFD-8C3C-054A1A3900D2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84944203-1039-436D-8BC8-3CEB58C19723}" type="presOf" srcId="{217DC152-310B-45CA-A5D2-BB87994E2345}" destId="{20A0ABAC-7412-4FA9-A794-5CCF4BF160AE}" srcOrd="0" destOrd="0" presId="urn:microsoft.com/office/officeart/2018/2/layout/IconVerticalSolidList"/>
    <dgm:cxn modelId="{6BB78137-EFDF-48BE-BFE8-6C3BA7CE803F}" type="presOf" srcId="{796C99FD-4D4A-4DBA-BFEF-CDEFF3906A2D}" destId="{603337EA-BBA8-442E-86C4-F40F10D96FB0}" srcOrd="0" destOrd="0" presId="urn:microsoft.com/office/officeart/2018/2/layout/IconVerticalSolidList"/>
    <dgm:cxn modelId="{AFC83288-9D4F-42E7-9AA9-BBFD15EA88D3}" type="presOf" srcId="{8BC5DDB4-937D-460E-B6F9-3A73F40D71D1}" destId="{1FA7DB52-C926-4893-9660-855E2CE5A44E}" srcOrd="0" destOrd="0" presId="urn:microsoft.com/office/officeart/2018/2/layout/IconVerticalSolidList"/>
    <dgm:cxn modelId="{963B029A-5107-47E8-A63A-CEEDE16AB962}" type="presOf" srcId="{CE844F1A-9FBD-4AFD-8C3C-054A1A3900D2}" destId="{9AC6B9D8-3D1A-4CE9-BA2B-5DC918EE8B84}" srcOrd="0" destOrd="0" presId="urn:microsoft.com/office/officeart/2018/2/layout/IconVerticalSolidList"/>
    <dgm:cxn modelId="{C15283C6-1FDD-4179-94FA-9A85F1AD9A77}" srcId="{796C99FD-4D4A-4DBA-BFEF-CDEFF3906A2D}" destId="{8BC5DDB4-937D-460E-B6F9-3A73F40D71D1}" srcOrd="0" destOrd="0" parTransId="{61371A88-D284-4F2E-8F5C-8DADA6114764}" sibTransId="{97B2B445-B6B9-4658-A565-896C4A0E8D5B}"/>
    <dgm:cxn modelId="{18FF23E0-6D5F-4835-9689-2B97A19415EF}" srcId="{796C99FD-4D4A-4DBA-BFEF-CDEFF3906A2D}" destId="{CE844F1A-9FBD-4AFD-8C3C-054A1A3900D2}" srcOrd="2" destOrd="0" parTransId="{500CB827-544C-4C16-8B28-D1BDFFA85614}" sibTransId="{0612EE3C-9B2F-41EE-9445-7E2D55B62484}"/>
    <dgm:cxn modelId="{0F33ACF6-794C-4EDA-A2C2-A895E5EDFF1A}" srcId="{796C99FD-4D4A-4DBA-BFEF-CDEFF3906A2D}" destId="{217DC152-310B-45CA-A5D2-BB87994E2345}" srcOrd="1" destOrd="0" parTransId="{AAB88D76-614A-49FD-81E2-44B55C0F69B4}" sibTransId="{B127D759-A92F-4AD5-85D7-35CFB2F3255E}"/>
    <dgm:cxn modelId="{3003BD75-F6C2-4383-8F79-41EB5DBD239F}" type="presParOf" srcId="{603337EA-BBA8-442E-86C4-F40F10D96FB0}" destId="{0A59E4CC-8C42-4715-827A-D649428A1ED8}" srcOrd="0" destOrd="0" presId="urn:microsoft.com/office/officeart/2018/2/layout/IconVerticalSolidList"/>
    <dgm:cxn modelId="{0CDE85E6-7385-46B6-9725-9BB19B536F12}" type="presParOf" srcId="{0A59E4CC-8C42-4715-827A-D649428A1ED8}" destId="{D316150A-4CDC-4E24-825B-7AE642B74852}" srcOrd="0" destOrd="0" presId="urn:microsoft.com/office/officeart/2018/2/layout/IconVerticalSolidList"/>
    <dgm:cxn modelId="{CD63088B-4B0E-4F06-8D17-BF9FFD1E80F9}" type="presParOf" srcId="{0A59E4CC-8C42-4715-827A-D649428A1ED8}" destId="{2DF7B464-2492-4D9E-A243-B7FF1AA34A7E}" srcOrd="1" destOrd="0" presId="urn:microsoft.com/office/officeart/2018/2/layout/IconVerticalSolidList"/>
    <dgm:cxn modelId="{1B6D382A-3B5C-4682-8A4D-0E5490FB1B2B}" type="presParOf" srcId="{0A59E4CC-8C42-4715-827A-D649428A1ED8}" destId="{D3544E66-DFF7-4CF9-80A6-57FEEA8EF963}" srcOrd="2" destOrd="0" presId="urn:microsoft.com/office/officeart/2018/2/layout/IconVerticalSolidList"/>
    <dgm:cxn modelId="{5E1BF5FD-F07E-4D99-80DD-838E8EA9FDB2}" type="presParOf" srcId="{0A59E4CC-8C42-4715-827A-D649428A1ED8}" destId="{1FA7DB52-C926-4893-9660-855E2CE5A44E}" srcOrd="3" destOrd="0" presId="urn:microsoft.com/office/officeart/2018/2/layout/IconVerticalSolidList"/>
    <dgm:cxn modelId="{D59F746D-80D4-4742-AA14-29FA52C86F10}" type="presParOf" srcId="{603337EA-BBA8-442E-86C4-F40F10D96FB0}" destId="{38136413-DAD1-4229-BCAD-BC9FA6AA5826}" srcOrd="1" destOrd="0" presId="urn:microsoft.com/office/officeart/2018/2/layout/IconVerticalSolidList"/>
    <dgm:cxn modelId="{5D9BC3DD-EDB4-4313-9CAE-1598345E862F}" type="presParOf" srcId="{603337EA-BBA8-442E-86C4-F40F10D96FB0}" destId="{E47C5B2E-E8D4-4CEE-BAE0-6AEAE6391110}" srcOrd="2" destOrd="0" presId="urn:microsoft.com/office/officeart/2018/2/layout/IconVerticalSolidList"/>
    <dgm:cxn modelId="{D236F998-1C29-46C0-AF58-1DD7419ADAA7}" type="presParOf" srcId="{E47C5B2E-E8D4-4CEE-BAE0-6AEAE6391110}" destId="{E52A420E-F65E-465C-A01D-C7F71BC8D3AC}" srcOrd="0" destOrd="0" presId="urn:microsoft.com/office/officeart/2018/2/layout/IconVerticalSolidList"/>
    <dgm:cxn modelId="{CF59320B-D63D-4F81-BA8B-0896311CAB75}" type="presParOf" srcId="{E47C5B2E-E8D4-4CEE-BAE0-6AEAE6391110}" destId="{56CA133A-8B18-44F8-ACA8-5DED06D6CFF2}" srcOrd="1" destOrd="0" presId="urn:microsoft.com/office/officeart/2018/2/layout/IconVerticalSolidList"/>
    <dgm:cxn modelId="{5B778273-5289-4C65-ACF4-AD4DB0B1788F}" type="presParOf" srcId="{E47C5B2E-E8D4-4CEE-BAE0-6AEAE6391110}" destId="{A1007151-B8D2-4C5D-B930-7DFB7F71F109}" srcOrd="2" destOrd="0" presId="urn:microsoft.com/office/officeart/2018/2/layout/IconVerticalSolidList"/>
    <dgm:cxn modelId="{5138EA8E-8960-44BE-A0F6-A593809F606C}" type="presParOf" srcId="{E47C5B2E-E8D4-4CEE-BAE0-6AEAE6391110}" destId="{20A0ABAC-7412-4FA9-A794-5CCF4BF160AE}" srcOrd="3" destOrd="0" presId="urn:microsoft.com/office/officeart/2018/2/layout/IconVerticalSolidList"/>
    <dgm:cxn modelId="{1C025374-FDB4-4D41-85CB-1F15232C1869}" type="presParOf" srcId="{603337EA-BBA8-442E-86C4-F40F10D96FB0}" destId="{0F5332EE-1195-4A3A-9D03-5CF00F626051}" srcOrd="3" destOrd="0" presId="urn:microsoft.com/office/officeart/2018/2/layout/IconVerticalSolidList"/>
    <dgm:cxn modelId="{86952DE8-393B-4503-84BE-93D59F5D3A21}" type="presParOf" srcId="{603337EA-BBA8-442E-86C4-F40F10D96FB0}" destId="{827B8880-C256-469E-9F38-FD4FD8BAAE1A}" srcOrd="4" destOrd="0" presId="urn:microsoft.com/office/officeart/2018/2/layout/IconVerticalSolidList"/>
    <dgm:cxn modelId="{27EF58EB-F669-4890-9242-975975DF2748}" type="presParOf" srcId="{827B8880-C256-469E-9F38-FD4FD8BAAE1A}" destId="{60608BA8-E31A-4EC2-8DBC-FDC2B7ECF0F7}" srcOrd="0" destOrd="0" presId="urn:microsoft.com/office/officeart/2018/2/layout/IconVerticalSolidList"/>
    <dgm:cxn modelId="{B4B14C26-BF22-40FE-870C-A4FE50413D8E}" type="presParOf" srcId="{827B8880-C256-469E-9F38-FD4FD8BAAE1A}" destId="{0FA6C24D-2F59-4DB1-85DD-6DAB31017E64}" srcOrd="1" destOrd="0" presId="urn:microsoft.com/office/officeart/2018/2/layout/IconVerticalSolidList"/>
    <dgm:cxn modelId="{A654CF8D-7DB2-468E-9BB7-813EF8F784C7}" type="presParOf" srcId="{827B8880-C256-469E-9F38-FD4FD8BAAE1A}" destId="{EAB54221-8D94-4944-96F5-E0FA1EFBD64E}" srcOrd="2" destOrd="0" presId="urn:microsoft.com/office/officeart/2018/2/layout/IconVerticalSolidList"/>
    <dgm:cxn modelId="{DEFC5A38-EFFF-4EB7-B798-3EAC5E1AEDF5}" type="presParOf" srcId="{827B8880-C256-469E-9F38-FD4FD8BAAE1A}" destId="{9AC6B9D8-3D1A-4CE9-BA2B-5DC918EE8B84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463238EA-E26F-4488-A650-27923A08F749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A6CD8FA-8EFC-456A-AA4C-C9095AA154C4}">
      <dgm:prSet/>
      <dgm:spPr/>
      <dgm:t>
        <a:bodyPr/>
        <a:lstStyle/>
        <a:p>
          <a:r>
            <a:rPr lang="en-US" dirty="0"/>
            <a:t>inform the EMOS secretariat of any changes</a:t>
          </a:r>
        </a:p>
      </dgm:t>
    </dgm:pt>
    <dgm:pt modelId="{D5DD13E8-ED2C-44FD-9F2B-36F70709B06A}" type="parTrans" cxnId="{39B61F8C-A95B-4D7C-8682-7CB5F4F96EB0}">
      <dgm:prSet/>
      <dgm:spPr/>
      <dgm:t>
        <a:bodyPr/>
        <a:lstStyle/>
        <a:p>
          <a:endParaRPr lang="en-US"/>
        </a:p>
      </dgm:t>
    </dgm:pt>
    <dgm:pt modelId="{C2AA18BD-DF62-409A-ACD0-1BA9002F395C}" type="sibTrans" cxnId="{39B61F8C-A95B-4D7C-8682-7CB5F4F96EB0}">
      <dgm:prSet/>
      <dgm:spPr/>
      <dgm:t>
        <a:bodyPr/>
        <a:lstStyle/>
        <a:p>
          <a:endParaRPr lang="en-US"/>
        </a:p>
      </dgm:t>
    </dgm:pt>
    <dgm:pt modelId="{A7B6E4CE-95E5-4450-9107-78BE08A2068F}">
      <dgm:prSet/>
      <dgm:spPr/>
      <dgm:t>
        <a:bodyPr/>
        <a:lstStyle/>
        <a:p>
          <a:r>
            <a:rPr lang="en-US" dirty="0"/>
            <a:t>share messages with relevant individuals within your organization</a:t>
          </a:r>
        </a:p>
      </dgm:t>
    </dgm:pt>
    <dgm:pt modelId="{1AA54D8C-0E84-415A-8842-E2B72D75B682}" type="parTrans" cxnId="{E1E7B29B-DFA5-4986-940F-1836F2478FF6}">
      <dgm:prSet/>
      <dgm:spPr/>
      <dgm:t>
        <a:bodyPr/>
        <a:lstStyle/>
        <a:p>
          <a:endParaRPr lang="en-US"/>
        </a:p>
      </dgm:t>
    </dgm:pt>
    <dgm:pt modelId="{285E245B-9875-4E84-BC79-25889C5CD9B1}" type="sibTrans" cxnId="{E1E7B29B-DFA5-4986-940F-1836F2478FF6}">
      <dgm:prSet/>
      <dgm:spPr/>
      <dgm:t>
        <a:bodyPr/>
        <a:lstStyle/>
        <a:p>
          <a:endParaRPr lang="en-US"/>
        </a:p>
      </dgm:t>
    </dgm:pt>
    <dgm:pt modelId="{8106C8B6-18CC-4B6C-9C72-E69B0A0CB714}" type="pres">
      <dgm:prSet presAssocID="{463238EA-E26F-4488-A650-27923A08F749}" presName="root" presStyleCnt="0">
        <dgm:presLayoutVars>
          <dgm:dir/>
          <dgm:resizeHandles val="exact"/>
        </dgm:presLayoutVars>
      </dgm:prSet>
      <dgm:spPr/>
    </dgm:pt>
    <dgm:pt modelId="{98398DB2-AF49-4274-84E2-37419E437AC2}" type="pres">
      <dgm:prSet presAssocID="{2A6CD8FA-8EFC-456A-AA4C-C9095AA154C4}" presName="compNode" presStyleCnt="0"/>
      <dgm:spPr/>
    </dgm:pt>
    <dgm:pt modelId="{9AB55952-5020-443E-BBAB-842FDD78954D}" type="pres">
      <dgm:prSet presAssocID="{2A6CD8FA-8EFC-456A-AA4C-C9095AA154C4}" presName="bgRect" presStyleLbl="bgShp" presStyleIdx="0" presStyleCnt="2"/>
      <dgm:spPr/>
    </dgm:pt>
    <dgm:pt modelId="{44247056-B4A0-4826-9B47-B9CAEC2C5FE6}" type="pres">
      <dgm:prSet presAssocID="{2A6CD8FA-8EFC-456A-AA4C-C9095AA154C4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ail"/>
        </a:ext>
      </dgm:extLst>
    </dgm:pt>
    <dgm:pt modelId="{B6274678-7A19-4236-863E-344AAC251D3E}" type="pres">
      <dgm:prSet presAssocID="{2A6CD8FA-8EFC-456A-AA4C-C9095AA154C4}" presName="spaceRect" presStyleCnt="0"/>
      <dgm:spPr/>
    </dgm:pt>
    <dgm:pt modelId="{2C12EDAB-2553-4835-8E09-090558921C8C}" type="pres">
      <dgm:prSet presAssocID="{2A6CD8FA-8EFC-456A-AA4C-C9095AA154C4}" presName="parTx" presStyleLbl="revTx" presStyleIdx="0" presStyleCnt="2">
        <dgm:presLayoutVars>
          <dgm:chMax val="0"/>
          <dgm:chPref val="0"/>
        </dgm:presLayoutVars>
      </dgm:prSet>
      <dgm:spPr/>
    </dgm:pt>
    <dgm:pt modelId="{2F3C7200-2DD0-4874-9D9E-B186FC555CE1}" type="pres">
      <dgm:prSet presAssocID="{C2AA18BD-DF62-409A-ACD0-1BA9002F395C}" presName="sibTrans" presStyleCnt="0"/>
      <dgm:spPr/>
    </dgm:pt>
    <dgm:pt modelId="{73EDFB35-8656-40E1-B0C4-8E0EC13BAF72}" type="pres">
      <dgm:prSet presAssocID="{A7B6E4CE-95E5-4450-9107-78BE08A2068F}" presName="compNode" presStyleCnt="0"/>
      <dgm:spPr/>
    </dgm:pt>
    <dgm:pt modelId="{B77CDC51-9A9C-4E23-9153-38B4C027E24C}" type="pres">
      <dgm:prSet presAssocID="{A7B6E4CE-95E5-4450-9107-78BE08A2068F}" presName="bgRect" presStyleLbl="bgShp" presStyleIdx="1" presStyleCnt="2"/>
      <dgm:spPr/>
    </dgm:pt>
    <dgm:pt modelId="{F2B85011-F964-4D22-BB17-61485413F4F1}" type="pres">
      <dgm:prSet presAssocID="{A7B6E4CE-95E5-4450-9107-78BE08A2068F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ubtitles"/>
        </a:ext>
      </dgm:extLst>
    </dgm:pt>
    <dgm:pt modelId="{5A375C42-3E53-4B2C-BF93-0C85C661E7B5}" type="pres">
      <dgm:prSet presAssocID="{A7B6E4CE-95E5-4450-9107-78BE08A2068F}" presName="spaceRect" presStyleCnt="0"/>
      <dgm:spPr/>
    </dgm:pt>
    <dgm:pt modelId="{98E8D1B5-942D-4AF0-A001-1A81D7889EDB}" type="pres">
      <dgm:prSet presAssocID="{A7B6E4CE-95E5-4450-9107-78BE08A2068F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20AACF63-3790-42A8-941A-169F640A40F4}" type="presOf" srcId="{463238EA-E26F-4488-A650-27923A08F749}" destId="{8106C8B6-18CC-4B6C-9C72-E69B0A0CB714}" srcOrd="0" destOrd="0" presId="urn:microsoft.com/office/officeart/2018/2/layout/IconVerticalSolidList"/>
    <dgm:cxn modelId="{39B61F8C-A95B-4D7C-8682-7CB5F4F96EB0}" srcId="{463238EA-E26F-4488-A650-27923A08F749}" destId="{2A6CD8FA-8EFC-456A-AA4C-C9095AA154C4}" srcOrd="0" destOrd="0" parTransId="{D5DD13E8-ED2C-44FD-9F2B-36F70709B06A}" sibTransId="{C2AA18BD-DF62-409A-ACD0-1BA9002F395C}"/>
    <dgm:cxn modelId="{E1E7B29B-DFA5-4986-940F-1836F2478FF6}" srcId="{463238EA-E26F-4488-A650-27923A08F749}" destId="{A7B6E4CE-95E5-4450-9107-78BE08A2068F}" srcOrd="1" destOrd="0" parTransId="{1AA54D8C-0E84-415A-8842-E2B72D75B682}" sibTransId="{285E245B-9875-4E84-BC79-25889C5CD9B1}"/>
    <dgm:cxn modelId="{EE04B3AD-7970-449C-855C-1F4BCCE4A66D}" type="presOf" srcId="{2A6CD8FA-8EFC-456A-AA4C-C9095AA154C4}" destId="{2C12EDAB-2553-4835-8E09-090558921C8C}" srcOrd="0" destOrd="0" presId="urn:microsoft.com/office/officeart/2018/2/layout/IconVerticalSolidList"/>
    <dgm:cxn modelId="{D439FCF2-D266-4342-B1CA-4FC43F166E4F}" type="presOf" srcId="{A7B6E4CE-95E5-4450-9107-78BE08A2068F}" destId="{98E8D1B5-942D-4AF0-A001-1A81D7889EDB}" srcOrd="0" destOrd="0" presId="urn:microsoft.com/office/officeart/2018/2/layout/IconVerticalSolidList"/>
    <dgm:cxn modelId="{C0B24011-5C4A-49C3-B979-83A904C06BD2}" type="presParOf" srcId="{8106C8B6-18CC-4B6C-9C72-E69B0A0CB714}" destId="{98398DB2-AF49-4274-84E2-37419E437AC2}" srcOrd="0" destOrd="0" presId="urn:microsoft.com/office/officeart/2018/2/layout/IconVerticalSolidList"/>
    <dgm:cxn modelId="{A997410A-56AC-4075-B582-023F20D1015C}" type="presParOf" srcId="{98398DB2-AF49-4274-84E2-37419E437AC2}" destId="{9AB55952-5020-443E-BBAB-842FDD78954D}" srcOrd="0" destOrd="0" presId="urn:microsoft.com/office/officeart/2018/2/layout/IconVerticalSolidList"/>
    <dgm:cxn modelId="{445C7F8A-AF82-464D-89EB-CB8872683A0F}" type="presParOf" srcId="{98398DB2-AF49-4274-84E2-37419E437AC2}" destId="{44247056-B4A0-4826-9B47-B9CAEC2C5FE6}" srcOrd="1" destOrd="0" presId="urn:microsoft.com/office/officeart/2018/2/layout/IconVerticalSolidList"/>
    <dgm:cxn modelId="{B0900D73-CB64-434B-B278-2B2A74C0C13A}" type="presParOf" srcId="{98398DB2-AF49-4274-84E2-37419E437AC2}" destId="{B6274678-7A19-4236-863E-344AAC251D3E}" srcOrd="2" destOrd="0" presId="urn:microsoft.com/office/officeart/2018/2/layout/IconVerticalSolidList"/>
    <dgm:cxn modelId="{9E8C6D3E-9745-492E-8718-371917077F5D}" type="presParOf" srcId="{98398DB2-AF49-4274-84E2-37419E437AC2}" destId="{2C12EDAB-2553-4835-8E09-090558921C8C}" srcOrd="3" destOrd="0" presId="urn:microsoft.com/office/officeart/2018/2/layout/IconVerticalSolidList"/>
    <dgm:cxn modelId="{5D50EF64-AF97-4F5E-B87F-1297DFFAB6AC}" type="presParOf" srcId="{8106C8B6-18CC-4B6C-9C72-E69B0A0CB714}" destId="{2F3C7200-2DD0-4874-9D9E-B186FC555CE1}" srcOrd="1" destOrd="0" presId="urn:microsoft.com/office/officeart/2018/2/layout/IconVerticalSolidList"/>
    <dgm:cxn modelId="{A2044AB1-9970-4187-A71E-9AE945787F8F}" type="presParOf" srcId="{8106C8B6-18CC-4B6C-9C72-E69B0A0CB714}" destId="{73EDFB35-8656-40E1-B0C4-8E0EC13BAF72}" srcOrd="2" destOrd="0" presId="urn:microsoft.com/office/officeart/2018/2/layout/IconVerticalSolidList"/>
    <dgm:cxn modelId="{0F632088-7CEA-4326-9E0E-511363C60AF4}" type="presParOf" srcId="{73EDFB35-8656-40E1-B0C4-8E0EC13BAF72}" destId="{B77CDC51-9A9C-4E23-9153-38B4C027E24C}" srcOrd="0" destOrd="0" presId="urn:microsoft.com/office/officeart/2018/2/layout/IconVerticalSolidList"/>
    <dgm:cxn modelId="{E076853A-B89C-44F5-9CC6-947F6728CA6D}" type="presParOf" srcId="{73EDFB35-8656-40E1-B0C4-8E0EC13BAF72}" destId="{F2B85011-F964-4D22-BB17-61485413F4F1}" srcOrd="1" destOrd="0" presId="urn:microsoft.com/office/officeart/2018/2/layout/IconVerticalSolidList"/>
    <dgm:cxn modelId="{7BB2936D-BBCE-4083-8725-AC3FDF20C2C8}" type="presParOf" srcId="{73EDFB35-8656-40E1-B0C4-8E0EC13BAF72}" destId="{5A375C42-3E53-4B2C-BF93-0C85C661E7B5}" srcOrd="2" destOrd="0" presId="urn:microsoft.com/office/officeart/2018/2/layout/IconVerticalSolidList"/>
    <dgm:cxn modelId="{7C94F138-10B9-4938-B645-E707F79B953F}" type="presParOf" srcId="{73EDFB35-8656-40E1-B0C4-8E0EC13BAF72}" destId="{98E8D1B5-942D-4AF0-A001-1A81D7889EDB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463238EA-E26F-4488-A650-27923A08F749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A6CD8FA-8EFC-456A-AA4C-C9095AA154C4}">
      <dgm:prSet/>
      <dgm:spPr/>
      <dgm:t>
        <a:bodyPr/>
        <a:lstStyle/>
        <a:p>
          <a:r>
            <a:rPr lang="en-US" dirty="0"/>
            <a:t>encourage and invite your students to participate in the ‘Meet EMOS students’</a:t>
          </a:r>
          <a:endParaRPr lang="de-DE" dirty="0"/>
        </a:p>
      </dgm:t>
    </dgm:pt>
    <dgm:pt modelId="{D5DD13E8-ED2C-44FD-9F2B-36F70709B06A}" type="parTrans" cxnId="{39B61F8C-A95B-4D7C-8682-7CB5F4F96EB0}">
      <dgm:prSet/>
      <dgm:spPr/>
      <dgm:t>
        <a:bodyPr/>
        <a:lstStyle/>
        <a:p>
          <a:endParaRPr lang="en-US"/>
        </a:p>
      </dgm:t>
    </dgm:pt>
    <dgm:pt modelId="{C2AA18BD-DF62-409A-ACD0-1BA9002F395C}" type="sibTrans" cxnId="{39B61F8C-A95B-4D7C-8682-7CB5F4F96EB0}">
      <dgm:prSet/>
      <dgm:spPr/>
      <dgm:t>
        <a:bodyPr/>
        <a:lstStyle/>
        <a:p>
          <a:endParaRPr lang="en-US"/>
        </a:p>
      </dgm:t>
    </dgm:pt>
    <dgm:pt modelId="{A7B6E4CE-95E5-4450-9107-78BE08A2068F}">
      <dgm:prSet/>
      <dgm:spPr/>
      <dgm:t>
        <a:bodyPr/>
        <a:lstStyle/>
        <a:p>
          <a:r>
            <a:rPr lang="en-US" dirty="0"/>
            <a:t>respond to the EMOS secretariat invitation to be featured in the ‘Meet </a:t>
          </a:r>
          <a:r>
            <a:rPr lang="en-001" dirty="0"/>
            <a:t>the </a:t>
          </a:r>
          <a:r>
            <a:rPr lang="en-US" dirty="0"/>
            <a:t>EMOS network’ </a:t>
          </a:r>
          <a:endParaRPr lang="de-DE" dirty="0"/>
        </a:p>
      </dgm:t>
    </dgm:pt>
    <dgm:pt modelId="{1AA54D8C-0E84-415A-8842-E2B72D75B682}" type="parTrans" cxnId="{E1E7B29B-DFA5-4986-940F-1836F2478FF6}">
      <dgm:prSet/>
      <dgm:spPr/>
      <dgm:t>
        <a:bodyPr/>
        <a:lstStyle/>
        <a:p>
          <a:endParaRPr lang="en-US"/>
        </a:p>
      </dgm:t>
    </dgm:pt>
    <dgm:pt modelId="{285E245B-9875-4E84-BC79-25889C5CD9B1}" type="sibTrans" cxnId="{E1E7B29B-DFA5-4986-940F-1836F2478FF6}">
      <dgm:prSet/>
      <dgm:spPr/>
      <dgm:t>
        <a:bodyPr/>
        <a:lstStyle/>
        <a:p>
          <a:endParaRPr lang="en-US"/>
        </a:p>
      </dgm:t>
    </dgm:pt>
    <dgm:pt modelId="{8106C8B6-18CC-4B6C-9C72-E69B0A0CB714}" type="pres">
      <dgm:prSet presAssocID="{463238EA-E26F-4488-A650-27923A08F749}" presName="root" presStyleCnt="0">
        <dgm:presLayoutVars>
          <dgm:dir/>
          <dgm:resizeHandles val="exact"/>
        </dgm:presLayoutVars>
      </dgm:prSet>
      <dgm:spPr/>
    </dgm:pt>
    <dgm:pt modelId="{98398DB2-AF49-4274-84E2-37419E437AC2}" type="pres">
      <dgm:prSet presAssocID="{2A6CD8FA-8EFC-456A-AA4C-C9095AA154C4}" presName="compNode" presStyleCnt="0"/>
      <dgm:spPr/>
    </dgm:pt>
    <dgm:pt modelId="{9AB55952-5020-443E-BBAB-842FDD78954D}" type="pres">
      <dgm:prSet presAssocID="{2A6CD8FA-8EFC-456A-AA4C-C9095AA154C4}" presName="bgRect" presStyleLbl="bgShp" presStyleIdx="0" presStyleCnt="2" custScaleY="90909"/>
      <dgm:spPr/>
    </dgm:pt>
    <dgm:pt modelId="{44247056-B4A0-4826-9B47-B9CAEC2C5FE6}" type="pres">
      <dgm:prSet presAssocID="{2A6CD8FA-8EFC-456A-AA4C-C9095AA154C4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ail"/>
        </a:ext>
      </dgm:extLst>
    </dgm:pt>
    <dgm:pt modelId="{B6274678-7A19-4236-863E-344AAC251D3E}" type="pres">
      <dgm:prSet presAssocID="{2A6CD8FA-8EFC-456A-AA4C-C9095AA154C4}" presName="spaceRect" presStyleCnt="0"/>
      <dgm:spPr/>
    </dgm:pt>
    <dgm:pt modelId="{2C12EDAB-2553-4835-8E09-090558921C8C}" type="pres">
      <dgm:prSet presAssocID="{2A6CD8FA-8EFC-456A-AA4C-C9095AA154C4}" presName="parTx" presStyleLbl="revTx" presStyleIdx="0" presStyleCnt="2">
        <dgm:presLayoutVars>
          <dgm:chMax val="0"/>
          <dgm:chPref val="0"/>
        </dgm:presLayoutVars>
      </dgm:prSet>
      <dgm:spPr/>
    </dgm:pt>
    <dgm:pt modelId="{2F3C7200-2DD0-4874-9D9E-B186FC555CE1}" type="pres">
      <dgm:prSet presAssocID="{C2AA18BD-DF62-409A-ACD0-1BA9002F395C}" presName="sibTrans" presStyleCnt="0"/>
      <dgm:spPr/>
    </dgm:pt>
    <dgm:pt modelId="{73EDFB35-8656-40E1-B0C4-8E0EC13BAF72}" type="pres">
      <dgm:prSet presAssocID="{A7B6E4CE-95E5-4450-9107-78BE08A2068F}" presName="compNode" presStyleCnt="0"/>
      <dgm:spPr/>
    </dgm:pt>
    <dgm:pt modelId="{B77CDC51-9A9C-4E23-9153-38B4C027E24C}" type="pres">
      <dgm:prSet presAssocID="{A7B6E4CE-95E5-4450-9107-78BE08A2068F}" presName="bgRect" presStyleLbl="bgShp" presStyleIdx="1" presStyleCnt="2"/>
      <dgm:spPr/>
    </dgm:pt>
    <dgm:pt modelId="{F2B85011-F964-4D22-BB17-61485413F4F1}" type="pres">
      <dgm:prSet presAssocID="{A7B6E4CE-95E5-4450-9107-78BE08A2068F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ubtitles"/>
        </a:ext>
      </dgm:extLst>
    </dgm:pt>
    <dgm:pt modelId="{5A375C42-3E53-4B2C-BF93-0C85C661E7B5}" type="pres">
      <dgm:prSet presAssocID="{A7B6E4CE-95E5-4450-9107-78BE08A2068F}" presName="spaceRect" presStyleCnt="0"/>
      <dgm:spPr/>
    </dgm:pt>
    <dgm:pt modelId="{98E8D1B5-942D-4AF0-A001-1A81D7889EDB}" type="pres">
      <dgm:prSet presAssocID="{A7B6E4CE-95E5-4450-9107-78BE08A2068F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20AACF63-3790-42A8-941A-169F640A40F4}" type="presOf" srcId="{463238EA-E26F-4488-A650-27923A08F749}" destId="{8106C8B6-18CC-4B6C-9C72-E69B0A0CB714}" srcOrd="0" destOrd="0" presId="urn:microsoft.com/office/officeart/2018/2/layout/IconVerticalSolidList"/>
    <dgm:cxn modelId="{39B61F8C-A95B-4D7C-8682-7CB5F4F96EB0}" srcId="{463238EA-E26F-4488-A650-27923A08F749}" destId="{2A6CD8FA-8EFC-456A-AA4C-C9095AA154C4}" srcOrd="0" destOrd="0" parTransId="{D5DD13E8-ED2C-44FD-9F2B-36F70709B06A}" sibTransId="{C2AA18BD-DF62-409A-ACD0-1BA9002F395C}"/>
    <dgm:cxn modelId="{E1E7B29B-DFA5-4986-940F-1836F2478FF6}" srcId="{463238EA-E26F-4488-A650-27923A08F749}" destId="{A7B6E4CE-95E5-4450-9107-78BE08A2068F}" srcOrd="1" destOrd="0" parTransId="{1AA54D8C-0E84-415A-8842-E2B72D75B682}" sibTransId="{285E245B-9875-4E84-BC79-25889C5CD9B1}"/>
    <dgm:cxn modelId="{EE04B3AD-7970-449C-855C-1F4BCCE4A66D}" type="presOf" srcId="{2A6CD8FA-8EFC-456A-AA4C-C9095AA154C4}" destId="{2C12EDAB-2553-4835-8E09-090558921C8C}" srcOrd="0" destOrd="0" presId="urn:microsoft.com/office/officeart/2018/2/layout/IconVerticalSolidList"/>
    <dgm:cxn modelId="{D439FCF2-D266-4342-B1CA-4FC43F166E4F}" type="presOf" srcId="{A7B6E4CE-95E5-4450-9107-78BE08A2068F}" destId="{98E8D1B5-942D-4AF0-A001-1A81D7889EDB}" srcOrd="0" destOrd="0" presId="urn:microsoft.com/office/officeart/2018/2/layout/IconVerticalSolidList"/>
    <dgm:cxn modelId="{C0B24011-5C4A-49C3-B979-83A904C06BD2}" type="presParOf" srcId="{8106C8B6-18CC-4B6C-9C72-E69B0A0CB714}" destId="{98398DB2-AF49-4274-84E2-37419E437AC2}" srcOrd="0" destOrd="0" presId="urn:microsoft.com/office/officeart/2018/2/layout/IconVerticalSolidList"/>
    <dgm:cxn modelId="{A997410A-56AC-4075-B582-023F20D1015C}" type="presParOf" srcId="{98398DB2-AF49-4274-84E2-37419E437AC2}" destId="{9AB55952-5020-443E-BBAB-842FDD78954D}" srcOrd="0" destOrd="0" presId="urn:microsoft.com/office/officeart/2018/2/layout/IconVerticalSolidList"/>
    <dgm:cxn modelId="{445C7F8A-AF82-464D-89EB-CB8872683A0F}" type="presParOf" srcId="{98398DB2-AF49-4274-84E2-37419E437AC2}" destId="{44247056-B4A0-4826-9B47-B9CAEC2C5FE6}" srcOrd="1" destOrd="0" presId="urn:microsoft.com/office/officeart/2018/2/layout/IconVerticalSolidList"/>
    <dgm:cxn modelId="{B0900D73-CB64-434B-B278-2B2A74C0C13A}" type="presParOf" srcId="{98398DB2-AF49-4274-84E2-37419E437AC2}" destId="{B6274678-7A19-4236-863E-344AAC251D3E}" srcOrd="2" destOrd="0" presId="urn:microsoft.com/office/officeart/2018/2/layout/IconVerticalSolidList"/>
    <dgm:cxn modelId="{9E8C6D3E-9745-492E-8718-371917077F5D}" type="presParOf" srcId="{98398DB2-AF49-4274-84E2-37419E437AC2}" destId="{2C12EDAB-2553-4835-8E09-090558921C8C}" srcOrd="3" destOrd="0" presId="urn:microsoft.com/office/officeart/2018/2/layout/IconVerticalSolidList"/>
    <dgm:cxn modelId="{5D50EF64-AF97-4F5E-B87F-1297DFFAB6AC}" type="presParOf" srcId="{8106C8B6-18CC-4B6C-9C72-E69B0A0CB714}" destId="{2F3C7200-2DD0-4874-9D9E-B186FC555CE1}" srcOrd="1" destOrd="0" presId="urn:microsoft.com/office/officeart/2018/2/layout/IconVerticalSolidList"/>
    <dgm:cxn modelId="{A2044AB1-9970-4187-A71E-9AE945787F8F}" type="presParOf" srcId="{8106C8B6-18CC-4B6C-9C72-E69B0A0CB714}" destId="{73EDFB35-8656-40E1-B0C4-8E0EC13BAF72}" srcOrd="2" destOrd="0" presId="urn:microsoft.com/office/officeart/2018/2/layout/IconVerticalSolidList"/>
    <dgm:cxn modelId="{0F632088-7CEA-4326-9E0E-511363C60AF4}" type="presParOf" srcId="{73EDFB35-8656-40E1-B0C4-8E0EC13BAF72}" destId="{B77CDC51-9A9C-4E23-9153-38B4C027E24C}" srcOrd="0" destOrd="0" presId="urn:microsoft.com/office/officeart/2018/2/layout/IconVerticalSolidList"/>
    <dgm:cxn modelId="{E076853A-B89C-44F5-9CC6-947F6728CA6D}" type="presParOf" srcId="{73EDFB35-8656-40E1-B0C4-8E0EC13BAF72}" destId="{F2B85011-F964-4D22-BB17-61485413F4F1}" srcOrd="1" destOrd="0" presId="urn:microsoft.com/office/officeart/2018/2/layout/IconVerticalSolidList"/>
    <dgm:cxn modelId="{7BB2936D-BBCE-4083-8725-AC3FDF20C2C8}" type="presParOf" srcId="{73EDFB35-8656-40E1-B0C4-8E0EC13BAF72}" destId="{5A375C42-3E53-4B2C-BF93-0C85C661E7B5}" srcOrd="2" destOrd="0" presId="urn:microsoft.com/office/officeart/2018/2/layout/IconVerticalSolidList"/>
    <dgm:cxn modelId="{7C94F138-10B9-4938-B645-E707F79B953F}" type="presParOf" srcId="{73EDFB35-8656-40E1-B0C4-8E0EC13BAF72}" destId="{98E8D1B5-942D-4AF0-A001-1A81D7889EDB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63238EA-E26F-4488-A650-27923A08F749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A6CD8FA-8EFC-456A-AA4C-C9095AA154C4}">
      <dgm:prSet/>
      <dgm:spPr/>
      <dgm:t>
        <a:bodyPr/>
        <a:lstStyle/>
        <a:p>
          <a:r>
            <a:rPr lang="en-US" dirty="0"/>
            <a:t>share your research work with the EMOS network</a:t>
          </a:r>
          <a:endParaRPr lang="de-DE" dirty="0"/>
        </a:p>
      </dgm:t>
    </dgm:pt>
    <dgm:pt modelId="{D5DD13E8-ED2C-44FD-9F2B-36F70709B06A}" type="parTrans" cxnId="{39B61F8C-A95B-4D7C-8682-7CB5F4F96EB0}">
      <dgm:prSet/>
      <dgm:spPr/>
      <dgm:t>
        <a:bodyPr/>
        <a:lstStyle/>
        <a:p>
          <a:endParaRPr lang="en-US"/>
        </a:p>
      </dgm:t>
    </dgm:pt>
    <dgm:pt modelId="{C2AA18BD-DF62-409A-ACD0-1BA9002F395C}" type="sibTrans" cxnId="{39B61F8C-A95B-4D7C-8682-7CB5F4F96EB0}">
      <dgm:prSet/>
      <dgm:spPr/>
      <dgm:t>
        <a:bodyPr/>
        <a:lstStyle/>
        <a:p>
          <a:endParaRPr lang="en-US"/>
        </a:p>
      </dgm:t>
    </dgm:pt>
    <dgm:pt modelId="{A7B6E4CE-95E5-4450-9107-78BE08A2068F}">
      <dgm:prSet/>
      <dgm:spPr/>
      <dgm:t>
        <a:bodyPr/>
        <a:lstStyle/>
        <a:p>
          <a:r>
            <a:rPr lang="en-US" dirty="0"/>
            <a:t>connect with members of the EMOS network with similar research interests</a:t>
          </a:r>
          <a:endParaRPr lang="de-DE" dirty="0"/>
        </a:p>
      </dgm:t>
    </dgm:pt>
    <dgm:pt modelId="{1AA54D8C-0E84-415A-8842-E2B72D75B682}" type="parTrans" cxnId="{E1E7B29B-DFA5-4986-940F-1836F2478FF6}">
      <dgm:prSet/>
      <dgm:spPr/>
      <dgm:t>
        <a:bodyPr/>
        <a:lstStyle/>
        <a:p>
          <a:endParaRPr lang="en-US"/>
        </a:p>
      </dgm:t>
    </dgm:pt>
    <dgm:pt modelId="{285E245B-9875-4E84-BC79-25889C5CD9B1}" type="sibTrans" cxnId="{E1E7B29B-DFA5-4986-940F-1836F2478FF6}">
      <dgm:prSet/>
      <dgm:spPr/>
      <dgm:t>
        <a:bodyPr/>
        <a:lstStyle/>
        <a:p>
          <a:endParaRPr lang="en-US"/>
        </a:p>
      </dgm:t>
    </dgm:pt>
    <dgm:pt modelId="{8106C8B6-18CC-4B6C-9C72-E69B0A0CB714}" type="pres">
      <dgm:prSet presAssocID="{463238EA-E26F-4488-A650-27923A08F749}" presName="root" presStyleCnt="0">
        <dgm:presLayoutVars>
          <dgm:dir/>
          <dgm:resizeHandles val="exact"/>
        </dgm:presLayoutVars>
      </dgm:prSet>
      <dgm:spPr/>
    </dgm:pt>
    <dgm:pt modelId="{98398DB2-AF49-4274-84E2-37419E437AC2}" type="pres">
      <dgm:prSet presAssocID="{2A6CD8FA-8EFC-456A-AA4C-C9095AA154C4}" presName="compNode" presStyleCnt="0"/>
      <dgm:spPr/>
    </dgm:pt>
    <dgm:pt modelId="{9AB55952-5020-443E-BBAB-842FDD78954D}" type="pres">
      <dgm:prSet presAssocID="{2A6CD8FA-8EFC-456A-AA4C-C9095AA154C4}" presName="bgRect" presStyleLbl="bgShp" presStyleIdx="0" presStyleCnt="2"/>
      <dgm:spPr/>
    </dgm:pt>
    <dgm:pt modelId="{44247056-B4A0-4826-9B47-B9CAEC2C5FE6}" type="pres">
      <dgm:prSet presAssocID="{2A6CD8FA-8EFC-456A-AA4C-C9095AA154C4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ail"/>
        </a:ext>
      </dgm:extLst>
    </dgm:pt>
    <dgm:pt modelId="{B6274678-7A19-4236-863E-344AAC251D3E}" type="pres">
      <dgm:prSet presAssocID="{2A6CD8FA-8EFC-456A-AA4C-C9095AA154C4}" presName="spaceRect" presStyleCnt="0"/>
      <dgm:spPr/>
    </dgm:pt>
    <dgm:pt modelId="{2C12EDAB-2553-4835-8E09-090558921C8C}" type="pres">
      <dgm:prSet presAssocID="{2A6CD8FA-8EFC-456A-AA4C-C9095AA154C4}" presName="parTx" presStyleLbl="revTx" presStyleIdx="0" presStyleCnt="2">
        <dgm:presLayoutVars>
          <dgm:chMax val="0"/>
          <dgm:chPref val="0"/>
        </dgm:presLayoutVars>
      </dgm:prSet>
      <dgm:spPr/>
    </dgm:pt>
    <dgm:pt modelId="{2F3C7200-2DD0-4874-9D9E-B186FC555CE1}" type="pres">
      <dgm:prSet presAssocID="{C2AA18BD-DF62-409A-ACD0-1BA9002F395C}" presName="sibTrans" presStyleCnt="0"/>
      <dgm:spPr/>
    </dgm:pt>
    <dgm:pt modelId="{73EDFB35-8656-40E1-B0C4-8E0EC13BAF72}" type="pres">
      <dgm:prSet presAssocID="{A7B6E4CE-95E5-4450-9107-78BE08A2068F}" presName="compNode" presStyleCnt="0"/>
      <dgm:spPr/>
    </dgm:pt>
    <dgm:pt modelId="{B77CDC51-9A9C-4E23-9153-38B4C027E24C}" type="pres">
      <dgm:prSet presAssocID="{A7B6E4CE-95E5-4450-9107-78BE08A2068F}" presName="bgRect" presStyleLbl="bgShp" presStyleIdx="1" presStyleCnt="2"/>
      <dgm:spPr/>
    </dgm:pt>
    <dgm:pt modelId="{F2B85011-F964-4D22-BB17-61485413F4F1}" type="pres">
      <dgm:prSet presAssocID="{A7B6E4CE-95E5-4450-9107-78BE08A2068F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ubtitles"/>
        </a:ext>
      </dgm:extLst>
    </dgm:pt>
    <dgm:pt modelId="{5A375C42-3E53-4B2C-BF93-0C85C661E7B5}" type="pres">
      <dgm:prSet presAssocID="{A7B6E4CE-95E5-4450-9107-78BE08A2068F}" presName="spaceRect" presStyleCnt="0"/>
      <dgm:spPr/>
    </dgm:pt>
    <dgm:pt modelId="{98E8D1B5-942D-4AF0-A001-1A81D7889EDB}" type="pres">
      <dgm:prSet presAssocID="{A7B6E4CE-95E5-4450-9107-78BE08A2068F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20AACF63-3790-42A8-941A-169F640A40F4}" type="presOf" srcId="{463238EA-E26F-4488-A650-27923A08F749}" destId="{8106C8B6-18CC-4B6C-9C72-E69B0A0CB714}" srcOrd="0" destOrd="0" presId="urn:microsoft.com/office/officeart/2018/2/layout/IconVerticalSolidList"/>
    <dgm:cxn modelId="{39B61F8C-A95B-4D7C-8682-7CB5F4F96EB0}" srcId="{463238EA-E26F-4488-A650-27923A08F749}" destId="{2A6CD8FA-8EFC-456A-AA4C-C9095AA154C4}" srcOrd="0" destOrd="0" parTransId="{D5DD13E8-ED2C-44FD-9F2B-36F70709B06A}" sibTransId="{C2AA18BD-DF62-409A-ACD0-1BA9002F395C}"/>
    <dgm:cxn modelId="{E1E7B29B-DFA5-4986-940F-1836F2478FF6}" srcId="{463238EA-E26F-4488-A650-27923A08F749}" destId="{A7B6E4CE-95E5-4450-9107-78BE08A2068F}" srcOrd="1" destOrd="0" parTransId="{1AA54D8C-0E84-415A-8842-E2B72D75B682}" sibTransId="{285E245B-9875-4E84-BC79-25889C5CD9B1}"/>
    <dgm:cxn modelId="{EE04B3AD-7970-449C-855C-1F4BCCE4A66D}" type="presOf" srcId="{2A6CD8FA-8EFC-456A-AA4C-C9095AA154C4}" destId="{2C12EDAB-2553-4835-8E09-090558921C8C}" srcOrd="0" destOrd="0" presId="urn:microsoft.com/office/officeart/2018/2/layout/IconVerticalSolidList"/>
    <dgm:cxn modelId="{D439FCF2-D266-4342-B1CA-4FC43F166E4F}" type="presOf" srcId="{A7B6E4CE-95E5-4450-9107-78BE08A2068F}" destId="{98E8D1B5-942D-4AF0-A001-1A81D7889EDB}" srcOrd="0" destOrd="0" presId="urn:microsoft.com/office/officeart/2018/2/layout/IconVerticalSolidList"/>
    <dgm:cxn modelId="{C0B24011-5C4A-49C3-B979-83A904C06BD2}" type="presParOf" srcId="{8106C8B6-18CC-4B6C-9C72-E69B0A0CB714}" destId="{98398DB2-AF49-4274-84E2-37419E437AC2}" srcOrd="0" destOrd="0" presId="urn:microsoft.com/office/officeart/2018/2/layout/IconVerticalSolidList"/>
    <dgm:cxn modelId="{A997410A-56AC-4075-B582-023F20D1015C}" type="presParOf" srcId="{98398DB2-AF49-4274-84E2-37419E437AC2}" destId="{9AB55952-5020-443E-BBAB-842FDD78954D}" srcOrd="0" destOrd="0" presId="urn:microsoft.com/office/officeart/2018/2/layout/IconVerticalSolidList"/>
    <dgm:cxn modelId="{445C7F8A-AF82-464D-89EB-CB8872683A0F}" type="presParOf" srcId="{98398DB2-AF49-4274-84E2-37419E437AC2}" destId="{44247056-B4A0-4826-9B47-B9CAEC2C5FE6}" srcOrd="1" destOrd="0" presId="urn:microsoft.com/office/officeart/2018/2/layout/IconVerticalSolidList"/>
    <dgm:cxn modelId="{B0900D73-CB64-434B-B278-2B2A74C0C13A}" type="presParOf" srcId="{98398DB2-AF49-4274-84E2-37419E437AC2}" destId="{B6274678-7A19-4236-863E-344AAC251D3E}" srcOrd="2" destOrd="0" presId="urn:microsoft.com/office/officeart/2018/2/layout/IconVerticalSolidList"/>
    <dgm:cxn modelId="{9E8C6D3E-9745-492E-8718-371917077F5D}" type="presParOf" srcId="{98398DB2-AF49-4274-84E2-37419E437AC2}" destId="{2C12EDAB-2553-4835-8E09-090558921C8C}" srcOrd="3" destOrd="0" presId="urn:microsoft.com/office/officeart/2018/2/layout/IconVerticalSolidList"/>
    <dgm:cxn modelId="{5D50EF64-AF97-4F5E-B87F-1297DFFAB6AC}" type="presParOf" srcId="{8106C8B6-18CC-4B6C-9C72-E69B0A0CB714}" destId="{2F3C7200-2DD0-4874-9D9E-B186FC555CE1}" srcOrd="1" destOrd="0" presId="urn:microsoft.com/office/officeart/2018/2/layout/IconVerticalSolidList"/>
    <dgm:cxn modelId="{A2044AB1-9970-4187-A71E-9AE945787F8F}" type="presParOf" srcId="{8106C8B6-18CC-4B6C-9C72-E69B0A0CB714}" destId="{73EDFB35-8656-40E1-B0C4-8E0EC13BAF72}" srcOrd="2" destOrd="0" presId="urn:microsoft.com/office/officeart/2018/2/layout/IconVerticalSolidList"/>
    <dgm:cxn modelId="{0F632088-7CEA-4326-9E0E-511363C60AF4}" type="presParOf" srcId="{73EDFB35-8656-40E1-B0C4-8E0EC13BAF72}" destId="{B77CDC51-9A9C-4E23-9153-38B4C027E24C}" srcOrd="0" destOrd="0" presId="urn:microsoft.com/office/officeart/2018/2/layout/IconVerticalSolidList"/>
    <dgm:cxn modelId="{E076853A-B89C-44F5-9CC6-947F6728CA6D}" type="presParOf" srcId="{73EDFB35-8656-40E1-B0C4-8E0EC13BAF72}" destId="{F2B85011-F964-4D22-BB17-61485413F4F1}" srcOrd="1" destOrd="0" presId="urn:microsoft.com/office/officeart/2018/2/layout/IconVerticalSolidList"/>
    <dgm:cxn modelId="{7BB2936D-BBCE-4083-8725-AC3FDF20C2C8}" type="presParOf" srcId="{73EDFB35-8656-40E1-B0C4-8E0EC13BAF72}" destId="{5A375C42-3E53-4B2C-BF93-0C85C661E7B5}" srcOrd="2" destOrd="0" presId="urn:microsoft.com/office/officeart/2018/2/layout/IconVerticalSolidList"/>
    <dgm:cxn modelId="{7C94F138-10B9-4938-B645-E707F79B953F}" type="presParOf" srcId="{73EDFB35-8656-40E1-B0C4-8E0EC13BAF72}" destId="{98E8D1B5-942D-4AF0-A001-1A81D7889EDB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463238EA-E26F-4488-A650-27923A08F749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A6CD8FA-8EFC-456A-AA4C-C9095AA154C4}">
      <dgm:prSet/>
      <dgm:spPr/>
      <dgm:t>
        <a:bodyPr/>
        <a:lstStyle/>
        <a:p>
          <a:r>
            <a:rPr lang="en-US" dirty="0"/>
            <a:t>join and actively contribute to the EMOS LinkedIn page: share job opportunities and relevant events </a:t>
          </a:r>
          <a:endParaRPr lang="de-DE" dirty="0"/>
        </a:p>
      </dgm:t>
    </dgm:pt>
    <dgm:pt modelId="{D5DD13E8-ED2C-44FD-9F2B-36F70709B06A}" type="parTrans" cxnId="{39B61F8C-A95B-4D7C-8682-7CB5F4F96EB0}">
      <dgm:prSet/>
      <dgm:spPr/>
      <dgm:t>
        <a:bodyPr/>
        <a:lstStyle/>
        <a:p>
          <a:endParaRPr lang="en-US"/>
        </a:p>
      </dgm:t>
    </dgm:pt>
    <dgm:pt modelId="{C2AA18BD-DF62-409A-ACD0-1BA9002F395C}" type="sibTrans" cxnId="{39B61F8C-A95B-4D7C-8682-7CB5F4F96EB0}">
      <dgm:prSet/>
      <dgm:spPr/>
      <dgm:t>
        <a:bodyPr/>
        <a:lstStyle/>
        <a:p>
          <a:endParaRPr lang="en-US"/>
        </a:p>
      </dgm:t>
    </dgm:pt>
    <dgm:pt modelId="{A7B6E4CE-95E5-4450-9107-78BE08A2068F}">
      <dgm:prSet/>
      <dgm:spPr/>
      <dgm:t>
        <a:bodyPr/>
        <a:lstStyle/>
        <a:p>
          <a:r>
            <a:rPr lang="en-US" dirty="0"/>
            <a:t>invite students, graduates and network partners to follow the page </a:t>
          </a:r>
          <a:endParaRPr lang="de-DE" dirty="0"/>
        </a:p>
      </dgm:t>
    </dgm:pt>
    <dgm:pt modelId="{1AA54D8C-0E84-415A-8842-E2B72D75B682}" type="parTrans" cxnId="{E1E7B29B-DFA5-4986-940F-1836F2478FF6}">
      <dgm:prSet/>
      <dgm:spPr/>
      <dgm:t>
        <a:bodyPr/>
        <a:lstStyle/>
        <a:p>
          <a:endParaRPr lang="en-US"/>
        </a:p>
      </dgm:t>
    </dgm:pt>
    <dgm:pt modelId="{285E245B-9875-4E84-BC79-25889C5CD9B1}" type="sibTrans" cxnId="{E1E7B29B-DFA5-4986-940F-1836F2478FF6}">
      <dgm:prSet/>
      <dgm:spPr/>
      <dgm:t>
        <a:bodyPr/>
        <a:lstStyle/>
        <a:p>
          <a:endParaRPr lang="en-US"/>
        </a:p>
      </dgm:t>
    </dgm:pt>
    <dgm:pt modelId="{8106C8B6-18CC-4B6C-9C72-E69B0A0CB714}" type="pres">
      <dgm:prSet presAssocID="{463238EA-E26F-4488-A650-27923A08F749}" presName="root" presStyleCnt="0">
        <dgm:presLayoutVars>
          <dgm:dir/>
          <dgm:resizeHandles val="exact"/>
        </dgm:presLayoutVars>
      </dgm:prSet>
      <dgm:spPr/>
    </dgm:pt>
    <dgm:pt modelId="{98398DB2-AF49-4274-84E2-37419E437AC2}" type="pres">
      <dgm:prSet presAssocID="{2A6CD8FA-8EFC-456A-AA4C-C9095AA154C4}" presName="compNode" presStyleCnt="0"/>
      <dgm:spPr/>
    </dgm:pt>
    <dgm:pt modelId="{9AB55952-5020-443E-BBAB-842FDD78954D}" type="pres">
      <dgm:prSet presAssocID="{2A6CD8FA-8EFC-456A-AA4C-C9095AA154C4}" presName="bgRect" presStyleLbl="bgShp" presStyleIdx="0" presStyleCnt="2"/>
      <dgm:spPr/>
    </dgm:pt>
    <dgm:pt modelId="{44247056-B4A0-4826-9B47-B9CAEC2C5FE6}" type="pres">
      <dgm:prSet presAssocID="{2A6CD8FA-8EFC-456A-AA4C-C9095AA154C4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ail"/>
        </a:ext>
      </dgm:extLst>
    </dgm:pt>
    <dgm:pt modelId="{B6274678-7A19-4236-863E-344AAC251D3E}" type="pres">
      <dgm:prSet presAssocID="{2A6CD8FA-8EFC-456A-AA4C-C9095AA154C4}" presName="spaceRect" presStyleCnt="0"/>
      <dgm:spPr/>
    </dgm:pt>
    <dgm:pt modelId="{2C12EDAB-2553-4835-8E09-090558921C8C}" type="pres">
      <dgm:prSet presAssocID="{2A6CD8FA-8EFC-456A-AA4C-C9095AA154C4}" presName="parTx" presStyleLbl="revTx" presStyleIdx="0" presStyleCnt="2">
        <dgm:presLayoutVars>
          <dgm:chMax val="0"/>
          <dgm:chPref val="0"/>
        </dgm:presLayoutVars>
      </dgm:prSet>
      <dgm:spPr/>
    </dgm:pt>
    <dgm:pt modelId="{2F3C7200-2DD0-4874-9D9E-B186FC555CE1}" type="pres">
      <dgm:prSet presAssocID="{C2AA18BD-DF62-409A-ACD0-1BA9002F395C}" presName="sibTrans" presStyleCnt="0"/>
      <dgm:spPr/>
    </dgm:pt>
    <dgm:pt modelId="{73EDFB35-8656-40E1-B0C4-8E0EC13BAF72}" type="pres">
      <dgm:prSet presAssocID="{A7B6E4CE-95E5-4450-9107-78BE08A2068F}" presName="compNode" presStyleCnt="0"/>
      <dgm:spPr/>
    </dgm:pt>
    <dgm:pt modelId="{B77CDC51-9A9C-4E23-9153-38B4C027E24C}" type="pres">
      <dgm:prSet presAssocID="{A7B6E4CE-95E5-4450-9107-78BE08A2068F}" presName="bgRect" presStyleLbl="bgShp" presStyleIdx="1" presStyleCnt="2"/>
      <dgm:spPr/>
    </dgm:pt>
    <dgm:pt modelId="{F2B85011-F964-4D22-BB17-61485413F4F1}" type="pres">
      <dgm:prSet presAssocID="{A7B6E4CE-95E5-4450-9107-78BE08A2068F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ubtitles"/>
        </a:ext>
      </dgm:extLst>
    </dgm:pt>
    <dgm:pt modelId="{5A375C42-3E53-4B2C-BF93-0C85C661E7B5}" type="pres">
      <dgm:prSet presAssocID="{A7B6E4CE-95E5-4450-9107-78BE08A2068F}" presName="spaceRect" presStyleCnt="0"/>
      <dgm:spPr/>
    </dgm:pt>
    <dgm:pt modelId="{98E8D1B5-942D-4AF0-A001-1A81D7889EDB}" type="pres">
      <dgm:prSet presAssocID="{A7B6E4CE-95E5-4450-9107-78BE08A2068F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20AACF63-3790-42A8-941A-169F640A40F4}" type="presOf" srcId="{463238EA-E26F-4488-A650-27923A08F749}" destId="{8106C8B6-18CC-4B6C-9C72-E69B0A0CB714}" srcOrd="0" destOrd="0" presId="urn:microsoft.com/office/officeart/2018/2/layout/IconVerticalSolidList"/>
    <dgm:cxn modelId="{39B61F8C-A95B-4D7C-8682-7CB5F4F96EB0}" srcId="{463238EA-E26F-4488-A650-27923A08F749}" destId="{2A6CD8FA-8EFC-456A-AA4C-C9095AA154C4}" srcOrd="0" destOrd="0" parTransId="{D5DD13E8-ED2C-44FD-9F2B-36F70709B06A}" sibTransId="{C2AA18BD-DF62-409A-ACD0-1BA9002F395C}"/>
    <dgm:cxn modelId="{E1E7B29B-DFA5-4986-940F-1836F2478FF6}" srcId="{463238EA-E26F-4488-A650-27923A08F749}" destId="{A7B6E4CE-95E5-4450-9107-78BE08A2068F}" srcOrd="1" destOrd="0" parTransId="{1AA54D8C-0E84-415A-8842-E2B72D75B682}" sibTransId="{285E245B-9875-4E84-BC79-25889C5CD9B1}"/>
    <dgm:cxn modelId="{EE04B3AD-7970-449C-855C-1F4BCCE4A66D}" type="presOf" srcId="{2A6CD8FA-8EFC-456A-AA4C-C9095AA154C4}" destId="{2C12EDAB-2553-4835-8E09-090558921C8C}" srcOrd="0" destOrd="0" presId="urn:microsoft.com/office/officeart/2018/2/layout/IconVerticalSolidList"/>
    <dgm:cxn modelId="{D439FCF2-D266-4342-B1CA-4FC43F166E4F}" type="presOf" srcId="{A7B6E4CE-95E5-4450-9107-78BE08A2068F}" destId="{98E8D1B5-942D-4AF0-A001-1A81D7889EDB}" srcOrd="0" destOrd="0" presId="urn:microsoft.com/office/officeart/2018/2/layout/IconVerticalSolidList"/>
    <dgm:cxn modelId="{C0B24011-5C4A-49C3-B979-83A904C06BD2}" type="presParOf" srcId="{8106C8B6-18CC-4B6C-9C72-E69B0A0CB714}" destId="{98398DB2-AF49-4274-84E2-37419E437AC2}" srcOrd="0" destOrd="0" presId="urn:microsoft.com/office/officeart/2018/2/layout/IconVerticalSolidList"/>
    <dgm:cxn modelId="{A997410A-56AC-4075-B582-023F20D1015C}" type="presParOf" srcId="{98398DB2-AF49-4274-84E2-37419E437AC2}" destId="{9AB55952-5020-443E-BBAB-842FDD78954D}" srcOrd="0" destOrd="0" presId="urn:microsoft.com/office/officeart/2018/2/layout/IconVerticalSolidList"/>
    <dgm:cxn modelId="{445C7F8A-AF82-464D-89EB-CB8872683A0F}" type="presParOf" srcId="{98398DB2-AF49-4274-84E2-37419E437AC2}" destId="{44247056-B4A0-4826-9B47-B9CAEC2C5FE6}" srcOrd="1" destOrd="0" presId="urn:microsoft.com/office/officeart/2018/2/layout/IconVerticalSolidList"/>
    <dgm:cxn modelId="{B0900D73-CB64-434B-B278-2B2A74C0C13A}" type="presParOf" srcId="{98398DB2-AF49-4274-84E2-37419E437AC2}" destId="{B6274678-7A19-4236-863E-344AAC251D3E}" srcOrd="2" destOrd="0" presId="urn:microsoft.com/office/officeart/2018/2/layout/IconVerticalSolidList"/>
    <dgm:cxn modelId="{9E8C6D3E-9745-492E-8718-371917077F5D}" type="presParOf" srcId="{98398DB2-AF49-4274-84E2-37419E437AC2}" destId="{2C12EDAB-2553-4835-8E09-090558921C8C}" srcOrd="3" destOrd="0" presId="urn:microsoft.com/office/officeart/2018/2/layout/IconVerticalSolidList"/>
    <dgm:cxn modelId="{5D50EF64-AF97-4F5E-B87F-1297DFFAB6AC}" type="presParOf" srcId="{8106C8B6-18CC-4B6C-9C72-E69B0A0CB714}" destId="{2F3C7200-2DD0-4874-9D9E-B186FC555CE1}" srcOrd="1" destOrd="0" presId="urn:microsoft.com/office/officeart/2018/2/layout/IconVerticalSolidList"/>
    <dgm:cxn modelId="{A2044AB1-9970-4187-A71E-9AE945787F8F}" type="presParOf" srcId="{8106C8B6-18CC-4B6C-9C72-E69B0A0CB714}" destId="{73EDFB35-8656-40E1-B0C4-8E0EC13BAF72}" srcOrd="2" destOrd="0" presId="urn:microsoft.com/office/officeart/2018/2/layout/IconVerticalSolidList"/>
    <dgm:cxn modelId="{0F632088-7CEA-4326-9E0E-511363C60AF4}" type="presParOf" srcId="{73EDFB35-8656-40E1-B0C4-8E0EC13BAF72}" destId="{B77CDC51-9A9C-4E23-9153-38B4C027E24C}" srcOrd="0" destOrd="0" presId="urn:microsoft.com/office/officeart/2018/2/layout/IconVerticalSolidList"/>
    <dgm:cxn modelId="{E076853A-B89C-44F5-9CC6-947F6728CA6D}" type="presParOf" srcId="{73EDFB35-8656-40E1-B0C4-8E0EC13BAF72}" destId="{F2B85011-F964-4D22-BB17-61485413F4F1}" srcOrd="1" destOrd="0" presId="urn:microsoft.com/office/officeart/2018/2/layout/IconVerticalSolidList"/>
    <dgm:cxn modelId="{7BB2936D-BBCE-4083-8725-AC3FDF20C2C8}" type="presParOf" srcId="{73EDFB35-8656-40E1-B0C4-8E0EC13BAF72}" destId="{5A375C42-3E53-4B2C-BF93-0C85C661E7B5}" srcOrd="2" destOrd="0" presId="urn:microsoft.com/office/officeart/2018/2/layout/IconVerticalSolidList"/>
    <dgm:cxn modelId="{7C94F138-10B9-4938-B645-E707F79B953F}" type="presParOf" srcId="{73EDFB35-8656-40E1-B0C4-8E0EC13BAF72}" destId="{98E8D1B5-942D-4AF0-A001-1A81D7889EDB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63238EA-E26F-4488-A650-27923A08F749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2A6CD8FA-8EFC-456A-AA4C-C9095AA154C4}">
      <dgm:prSet/>
      <dgm:spPr/>
      <dgm:t>
        <a:bodyPr/>
        <a:lstStyle/>
        <a:p>
          <a:r>
            <a:rPr lang="en-US" dirty="0"/>
            <a:t>in case of interest, contact the EMOS secretariat</a:t>
          </a:r>
          <a:endParaRPr lang="de-DE" dirty="0"/>
        </a:p>
      </dgm:t>
    </dgm:pt>
    <dgm:pt modelId="{D5DD13E8-ED2C-44FD-9F2B-36F70709B06A}" type="parTrans" cxnId="{39B61F8C-A95B-4D7C-8682-7CB5F4F96EB0}">
      <dgm:prSet/>
      <dgm:spPr/>
      <dgm:t>
        <a:bodyPr/>
        <a:lstStyle/>
        <a:p>
          <a:endParaRPr lang="en-US"/>
        </a:p>
      </dgm:t>
    </dgm:pt>
    <dgm:pt modelId="{C2AA18BD-DF62-409A-ACD0-1BA9002F395C}" type="sibTrans" cxnId="{39B61F8C-A95B-4D7C-8682-7CB5F4F96EB0}">
      <dgm:prSet/>
      <dgm:spPr/>
      <dgm:t>
        <a:bodyPr/>
        <a:lstStyle/>
        <a:p>
          <a:endParaRPr lang="en-US"/>
        </a:p>
      </dgm:t>
    </dgm:pt>
    <dgm:pt modelId="{A7B6E4CE-95E5-4450-9107-78BE08A2068F}">
      <dgm:prSet/>
      <dgm:spPr/>
      <dgm:t>
        <a:bodyPr/>
        <a:lstStyle/>
        <a:p>
          <a:r>
            <a:rPr lang="en-US" dirty="0"/>
            <a:t>inform of any specific topics or areas that should be covered</a:t>
          </a:r>
          <a:endParaRPr lang="de-DE" dirty="0"/>
        </a:p>
      </dgm:t>
    </dgm:pt>
    <dgm:pt modelId="{1AA54D8C-0E84-415A-8842-E2B72D75B682}" type="parTrans" cxnId="{E1E7B29B-DFA5-4986-940F-1836F2478FF6}">
      <dgm:prSet/>
      <dgm:spPr/>
      <dgm:t>
        <a:bodyPr/>
        <a:lstStyle/>
        <a:p>
          <a:endParaRPr lang="en-US"/>
        </a:p>
      </dgm:t>
    </dgm:pt>
    <dgm:pt modelId="{285E245B-9875-4E84-BC79-25889C5CD9B1}" type="sibTrans" cxnId="{E1E7B29B-DFA5-4986-940F-1836F2478FF6}">
      <dgm:prSet/>
      <dgm:spPr/>
      <dgm:t>
        <a:bodyPr/>
        <a:lstStyle/>
        <a:p>
          <a:endParaRPr lang="en-US"/>
        </a:p>
      </dgm:t>
    </dgm:pt>
    <dgm:pt modelId="{8106C8B6-18CC-4B6C-9C72-E69B0A0CB714}" type="pres">
      <dgm:prSet presAssocID="{463238EA-E26F-4488-A650-27923A08F749}" presName="root" presStyleCnt="0">
        <dgm:presLayoutVars>
          <dgm:dir/>
          <dgm:resizeHandles val="exact"/>
        </dgm:presLayoutVars>
      </dgm:prSet>
      <dgm:spPr/>
    </dgm:pt>
    <dgm:pt modelId="{98398DB2-AF49-4274-84E2-37419E437AC2}" type="pres">
      <dgm:prSet presAssocID="{2A6CD8FA-8EFC-456A-AA4C-C9095AA154C4}" presName="compNode" presStyleCnt="0"/>
      <dgm:spPr/>
    </dgm:pt>
    <dgm:pt modelId="{9AB55952-5020-443E-BBAB-842FDD78954D}" type="pres">
      <dgm:prSet presAssocID="{2A6CD8FA-8EFC-456A-AA4C-C9095AA154C4}" presName="bgRect" presStyleLbl="bgShp" presStyleIdx="0" presStyleCnt="2"/>
      <dgm:spPr/>
    </dgm:pt>
    <dgm:pt modelId="{44247056-B4A0-4826-9B47-B9CAEC2C5FE6}" type="pres">
      <dgm:prSet presAssocID="{2A6CD8FA-8EFC-456A-AA4C-C9095AA154C4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ail"/>
        </a:ext>
      </dgm:extLst>
    </dgm:pt>
    <dgm:pt modelId="{B6274678-7A19-4236-863E-344AAC251D3E}" type="pres">
      <dgm:prSet presAssocID="{2A6CD8FA-8EFC-456A-AA4C-C9095AA154C4}" presName="spaceRect" presStyleCnt="0"/>
      <dgm:spPr/>
    </dgm:pt>
    <dgm:pt modelId="{2C12EDAB-2553-4835-8E09-090558921C8C}" type="pres">
      <dgm:prSet presAssocID="{2A6CD8FA-8EFC-456A-AA4C-C9095AA154C4}" presName="parTx" presStyleLbl="revTx" presStyleIdx="0" presStyleCnt="2">
        <dgm:presLayoutVars>
          <dgm:chMax val="0"/>
          <dgm:chPref val="0"/>
        </dgm:presLayoutVars>
      </dgm:prSet>
      <dgm:spPr/>
    </dgm:pt>
    <dgm:pt modelId="{2F3C7200-2DD0-4874-9D9E-B186FC555CE1}" type="pres">
      <dgm:prSet presAssocID="{C2AA18BD-DF62-409A-ACD0-1BA9002F395C}" presName="sibTrans" presStyleCnt="0"/>
      <dgm:spPr/>
    </dgm:pt>
    <dgm:pt modelId="{73EDFB35-8656-40E1-B0C4-8E0EC13BAF72}" type="pres">
      <dgm:prSet presAssocID="{A7B6E4CE-95E5-4450-9107-78BE08A2068F}" presName="compNode" presStyleCnt="0"/>
      <dgm:spPr/>
    </dgm:pt>
    <dgm:pt modelId="{B77CDC51-9A9C-4E23-9153-38B4C027E24C}" type="pres">
      <dgm:prSet presAssocID="{A7B6E4CE-95E5-4450-9107-78BE08A2068F}" presName="bgRect" presStyleLbl="bgShp" presStyleIdx="1" presStyleCnt="2"/>
      <dgm:spPr/>
    </dgm:pt>
    <dgm:pt modelId="{F2B85011-F964-4D22-BB17-61485413F4F1}" type="pres">
      <dgm:prSet presAssocID="{A7B6E4CE-95E5-4450-9107-78BE08A2068F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ubtitles"/>
        </a:ext>
      </dgm:extLst>
    </dgm:pt>
    <dgm:pt modelId="{5A375C42-3E53-4B2C-BF93-0C85C661E7B5}" type="pres">
      <dgm:prSet presAssocID="{A7B6E4CE-95E5-4450-9107-78BE08A2068F}" presName="spaceRect" presStyleCnt="0"/>
      <dgm:spPr/>
    </dgm:pt>
    <dgm:pt modelId="{98E8D1B5-942D-4AF0-A001-1A81D7889EDB}" type="pres">
      <dgm:prSet presAssocID="{A7B6E4CE-95E5-4450-9107-78BE08A2068F}" presName="parTx" presStyleLbl="revTx" presStyleIdx="1" presStyleCnt="2">
        <dgm:presLayoutVars>
          <dgm:chMax val="0"/>
          <dgm:chPref val="0"/>
        </dgm:presLayoutVars>
      </dgm:prSet>
      <dgm:spPr/>
    </dgm:pt>
  </dgm:ptLst>
  <dgm:cxnLst>
    <dgm:cxn modelId="{20AACF63-3790-42A8-941A-169F640A40F4}" type="presOf" srcId="{463238EA-E26F-4488-A650-27923A08F749}" destId="{8106C8B6-18CC-4B6C-9C72-E69B0A0CB714}" srcOrd="0" destOrd="0" presId="urn:microsoft.com/office/officeart/2018/2/layout/IconVerticalSolidList"/>
    <dgm:cxn modelId="{39B61F8C-A95B-4D7C-8682-7CB5F4F96EB0}" srcId="{463238EA-E26F-4488-A650-27923A08F749}" destId="{2A6CD8FA-8EFC-456A-AA4C-C9095AA154C4}" srcOrd="0" destOrd="0" parTransId="{D5DD13E8-ED2C-44FD-9F2B-36F70709B06A}" sibTransId="{C2AA18BD-DF62-409A-ACD0-1BA9002F395C}"/>
    <dgm:cxn modelId="{E1E7B29B-DFA5-4986-940F-1836F2478FF6}" srcId="{463238EA-E26F-4488-A650-27923A08F749}" destId="{A7B6E4CE-95E5-4450-9107-78BE08A2068F}" srcOrd="1" destOrd="0" parTransId="{1AA54D8C-0E84-415A-8842-E2B72D75B682}" sibTransId="{285E245B-9875-4E84-BC79-25889C5CD9B1}"/>
    <dgm:cxn modelId="{EE04B3AD-7970-449C-855C-1F4BCCE4A66D}" type="presOf" srcId="{2A6CD8FA-8EFC-456A-AA4C-C9095AA154C4}" destId="{2C12EDAB-2553-4835-8E09-090558921C8C}" srcOrd="0" destOrd="0" presId="urn:microsoft.com/office/officeart/2018/2/layout/IconVerticalSolidList"/>
    <dgm:cxn modelId="{D439FCF2-D266-4342-B1CA-4FC43F166E4F}" type="presOf" srcId="{A7B6E4CE-95E5-4450-9107-78BE08A2068F}" destId="{98E8D1B5-942D-4AF0-A001-1A81D7889EDB}" srcOrd="0" destOrd="0" presId="urn:microsoft.com/office/officeart/2018/2/layout/IconVerticalSolidList"/>
    <dgm:cxn modelId="{C0B24011-5C4A-49C3-B979-83A904C06BD2}" type="presParOf" srcId="{8106C8B6-18CC-4B6C-9C72-E69B0A0CB714}" destId="{98398DB2-AF49-4274-84E2-37419E437AC2}" srcOrd="0" destOrd="0" presId="urn:microsoft.com/office/officeart/2018/2/layout/IconVerticalSolidList"/>
    <dgm:cxn modelId="{A997410A-56AC-4075-B582-023F20D1015C}" type="presParOf" srcId="{98398DB2-AF49-4274-84E2-37419E437AC2}" destId="{9AB55952-5020-443E-BBAB-842FDD78954D}" srcOrd="0" destOrd="0" presId="urn:microsoft.com/office/officeart/2018/2/layout/IconVerticalSolidList"/>
    <dgm:cxn modelId="{445C7F8A-AF82-464D-89EB-CB8872683A0F}" type="presParOf" srcId="{98398DB2-AF49-4274-84E2-37419E437AC2}" destId="{44247056-B4A0-4826-9B47-B9CAEC2C5FE6}" srcOrd="1" destOrd="0" presId="urn:microsoft.com/office/officeart/2018/2/layout/IconVerticalSolidList"/>
    <dgm:cxn modelId="{B0900D73-CB64-434B-B278-2B2A74C0C13A}" type="presParOf" srcId="{98398DB2-AF49-4274-84E2-37419E437AC2}" destId="{B6274678-7A19-4236-863E-344AAC251D3E}" srcOrd="2" destOrd="0" presId="urn:microsoft.com/office/officeart/2018/2/layout/IconVerticalSolidList"/>
    <dgm:cxn modelId="{9E8C6D3E-9745-492E-8718-371917077F5D}" type="presParOf" srcId="{98398DB2-AF49-4274-84E2-37419E437AC2}" destId="{2C12EDAB-2553-4835-8E09-090558921C8C}" srcOrd="3" destOrd="0" presId="urn:microsoft.com/office/officeart/2018/2/layout/IconVerticalSolidList"/>
    <dgm:cxn modelId="{5D50EF64-AF97-4F5E-B87F-1297DFFAB6AC}" type="presParOf" srcId="{8106C8B6-18CC-4B6C-9C72-E69B0A0CB714}" destId="{2F3C7200-2DD0-4874-9D9E-B186FC555CE1}" srcOrd="1" destOrd="0" presId="urn:microsoft.com/office/officeart/2018/2/layout/IconVerticalSolidList"/>
    <dgm:cxn modelId="{A2044AB1-9970-4187-A71E-9AE945787F8F}" type="presParOf" srcId="{8106C8B6-18CC-4B6C-9C72-E69B0A0CB714}" destId="{73EDFB35-8656-40E1-B0C4-8E0EC13BAF72}" srcOrd="2" destOrd="0" presId="urn:microsoft.com/office/officeart/2018/2/layout/IconVerticalSolidList"/>
    <dgm:cxn modelId="{0F632088-7CEA-4326-9E0E-511363C60AF4}" type="presParOf" srcId="{73EDFB35-8656-40E1-B0C4-8E0EC13BAF72}" destId="{B77CDC51-9A9C-4E23-9153-38B4C027E24C}" srcOrd="0" destOrd="0" presId="urn:microsoft.com/office/officeart/2018/2/layout/IconVerticalSolidList"/>
    <dgm:cxn modelId="{E076853A-B89C-44F5-9CC6-947F6728CA6D}" type="presParOf" srcId="{73EDFB35-8656-40E1-B0C4-8E0EC13BAF72}" destId="{F2B85011-F964-4D22-BB17-61485413F4F1}" srcOrd="1" destOrd="0" presId="urn:microsoft.com/office/officeart/2018/2/layout/IconVerticalSolidList"/>
    <dgm:cxn modelId="{7BB2936D-BBCE-4083-8725-AC3FDF20C2C8}" type="presParOf" srcId="{73EDFB35-8656-40E1-B0C4-8E0EC13BAF72}" destId="{5A375C42-3E53-4B2C-BF93-0C85C661E7B5}" srcOrd="2" destOrd="0" presId="urn:microsoft.com/office/officeart/2018/2/layout/IconVerticalSolidList"/>
    <dgm:cxn modelId="{7C94F138-10B9-4938-B645-E707F79B953F}" type="presParOf" srcId="{73EDFB35-8656-40E1-B0C4-8E0EC13BAF72}" destId="{98E8D1B5-942D-4AF0-A001-1A81D7889EDB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BFAC8D-625E-40C2-9A9D-5E4EB993BC8B}">
      <dsp:nvSpPr>
        <dsp:cNvPr id="0" name=""/>
        <dsp:cNvSpPr/>
      </dsp:nvSpPr>
      <dsp:spPr>
        <a:xfrm>
          <a:off x="0" y="473"/>
          <a:ext cx="10905699" cy="110884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ADF586-C49B-4895-9462-F1BABFDAFE1C}">
      <dsp:nvSpPr>
        <dsp:cNvPr id="0" name=""/>
        <dsp:cNvSpPr/>
      </dsp:nvSpPr>
      <dsp:spPr>
        <a:xfrm>
          <a:off x="335425" y="249963"/>
          <a:ext cx="609864" cy="60986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4DE73E-C747-461B-8B21-1E5775CEB023}">
      <dsp:nvSpPr>
        <dsp:cNvPr id="0" name=""/>
        <dsp:cNvSpPr/>
      </dsp:nvSpPr>
      <dsp:spPr>
        <a:xfrm>
          <a:off x="1280715" y="473"/>
          <a:ext cx="9624983" cy="11088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53" tIns="117353" rIns="117353" bIns="11735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review and update links to EMOS webpages on own communication channels (new URL address!)</a:t>
          </a:r>
        </a:p>
      </dsp:txBody>
      <dsp:txXfrm>
        <a:off x="1280715" y="473"/>
        <a:ext cx="9624983" cy="1108844"/>
      </dsp:txXfrm>
    </dsp:sp>
    <dsp:sp modelId="{F92E1199-E07B-4EDB-903A-B4F2A00F8842}">
      <dsp:nvSpPr>
        <dsp:cNvPr id="0" name=""/>
        <dsp:cNvSpPr/>
      </dsp:nvSpPr>
      <dsp:spPr>
        <a:xfrm>
          <a:off x="0" y="1386529"/>
          <a:ext cx="10905699" cy="110884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AFD978B-6B65-41D8-B273-91536701BE57}">
      <dsp:nvSpPr>
        <dsp:cNvPr id="0" name=""/>
        <dsp:cNvSpPr/>
      </dsp:nvSpPr>
      <dsp:spPr>
        <a:xfrm>
          <a:off x="335425" y="1636019"/>
          <a:ext cx="609864" cy="60986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DB3F257-1D70-458F-A446-CF5DB8C15EBE}">
      <dsp:nvSpPr>
        <dsp:cNvPr id="0" name=""/>
        <dsp:cNvSpPr/>
      </dsp:nvSpPr>
      <dsp:spPr>
        <a:xfrm>
          <a:off x="1280715" y="1386529"/>
          <a:ext cx="9624983" cy="11088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53" tIns="117353" rIns="117353" bIns="11735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promote the new EMOS webpages</a:t>
          </a:r>
        </a:p>
      </dsp:txBody>
      <dsp:txXfrm>
        <a:off x="1280715" y="1386529"/>
        <a:ext cx="9624983" cy="1108844"/>
      </dsp:txXfrm>
    </dsp:sp>
    <dsp:sp modelId="{D42CF332-6AA4-475D-A49A-11FB8D408011}">
      <dsp:nvSpPr>
        <dsp:cNvPr id="0" name=""/>
        <dsp:cNvSpPr/>
      </dsp:nvSpPr>
      <dsp:spPr>
        <a:xfrm>
          <a:off x="0" y="2772585"/>
          <a:ext cx="10905699" cy="110884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CD5C7BD-0B38-46B3-8BCB-C0A36AE8971D}">
      <dsp:nvSpPr>
        <dsp:cNvPr id="0" name=""/>
        <dsp:cNvSpPr/>
      </dsp:nvSpPr>
      <dsp:spPr>
        <a:xfrm>
          <a:off x="335425" y="3022075"/>
          <a:ext cx="609864" cy="60986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40DF360-6094-484D-B626-E5868B30E3C8}">
      <dsp:nvSpPr>
        <dsp:cNvPr id="0" name=""/>
        <dsp:cNvSpPr/>
      </dsp:nvSpPr>
      <dsp:spPr>
        <a:xfrm>
          <a:off x="1280715" y="2772585"/>
          <a:ext cx="9624983" cy="11088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53" tIns="117353" rIns="117353" bIns="11735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reuse and share information</a:t>
          </a:r>
        </a:p>
      </dsp:txBody>
      <dsp:txXfrm>
        <a:off x="1280715" y="2772585"/>
        <a:ext cx="9624983" cy="110884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16150A-4CDC-4E24-825B-7AE642B74852}">
      <dsp:nvSpPr>
        <dsp:cNvPr id="0" name=""/>
        <dsp:cNvSpPr/>
      </dsp:nvSpPr>
      <dsp:spPr>
        <a:xfrm>
          <a:off x="0" y="473"/>
          <a:ext cx="10905699" cy="110884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F7B464-2492-4D9E-A243-B7FF1AA34A7E}">
      <dsp:nvSpPr>
        <dsp:cNvPr id="0" name=""/>
        <dsp:cNvSpPr/>
      </dsp:nvSpPr>
      <dsp:spPr>
        <a:xfrm>
          <a:off x="335425" y="249963"/>
          <a:ext cx="609864" cy="60986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A7DB52-C926-4893-9660-855E2CE5A44E}">
      <dsp:nvSpPr>
        <dsp:cNvPr id="0" name=""/>
        <dsp:cNvSpPr/>
      </dsp:nvSpPr>
      <dsp:spPr>
        <a:xfrm>
          <a:off x="1280715" y="473"/>
          <a:ext cx="9624983" cy="11088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53" tIns="117353" rIns="117353" bIns="11735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follow EMOS communication channels</a:t>
          </a:r>
        </a:p>
      </dsp:txBody>
      <dsp:txXfrm>
        <a:off x="1280715" y="473"/>
        <a:ext cx="9624983" cy="1108844"/>
      </dsp:txXfrm>
    </dsp:sp>
    <dsp:sp modelId="{E52A420E-F65E-465C-A01D-C7F71BC8D3AC}">
      <dsp:nvSpPr>
        <dsp:cNvPr id="0" name=""/>
        <dsp:cNvSpPr/>
      </dsp:nvSpPr>
      <dsp:spPr>
        <a:xfrm>
          <a:off x="0" y="1386529"/>
          <a:ext cx="10905699" cy="110884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CA133A-8B18-44F8-ACA8-5DED06D6CFF2}">
      <dsp:nvSpPr>
        <dsp:cNvPr id="0" name=""/>
        <dsp:cNvSpPr/>
      </dsp:nvSpPr>
      <dsp:spPr>
        <a:xfrm>
          <a:off x="335425" y="1636019"/>
          <a:ext cx="609864" cy="60986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0A0ABAC-7412-4FA9-A794-5CCF4BF160AE}">
      <dsp:nvSpPr>
        <dsp:cNvPr id="0" name=""/>
        <dsp:cNvSpPr/>
      </dsp:nvSpPr>
      <dsp:spPr>
        <a:xfrm>
          <a:off x="1280715" y="1386529"/>
          <a:ext cx="9624983" cy="11088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53" tIns="117353" rIns="117353" bIns="11735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promote EMOS communication channels</a:t>
          </a:r>
        </a:p>
      </dsp:txBody>
      <dsp:txXfrm>
        <a:off x="1280715" y="1386529"/>
        <a:ext cx="9624983" cy="1108844"/>
      </dsp:txXfrm>
    </dsp:sp>
    <dsp:sp modelId="{60608BA8-E31A-4EC2-8DBC-FDC2B7ECF0F7}">
      <dsp:nvSpPr>
        <dsp:cNvPr id="0" name=""/>
        <dsp:cNvSpPr/>
      </dsp:nvSpPr>
      <dsp:spPr>
        <a:xfrm>
          <a:off x="0" y="2772585"/>
          <a:ext cx="10905699" cy="1108844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FA6C24D-2F59-4DB1-85DD-6DAB31017E64}">
      <dsp:nvSpPr>
        <dsp:cNvPr id="0" name=""/>
        <dsp:cNvSpPr/>
      </dsp:nvSpPr>
      <dsp:spPr>
        <a:xfrm>
          <a:off x="335425" y="3022075"/>
          <a:ext cx="609864" cy="609864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AC6B9D8-3D1A-4CE9-BA2B-5DC918EE8B84}">
      <dsp:nvSpPr>
        <dsp:cNvPr id="0" name=""/>
        <dsp:cNvSpPr/>
      </dsp:nvSpPr>
      <dsp:spPr>
        <a:xfrm>
          <a:off x="1280715" y="2772585"/>
          <a:ext cx="9624983" cy="110884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7353" tIns="117353" rIns="117353" bIns="11735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hare updates and news to post</a:t>
          </a:r>
        </a:p>
      </dsp:txBody>
      <dsp:txXfrm>
        <a:off x="1280715" y="2772585"/>
        <a:ext cx="9624983" cy="110884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B55952-5020-443E-BBAB-842FDD78954D}">
      <dsp:nvSpPr>
        <dsp:cNvPr id="0" name=""/>
        <dsp:cNvSpPr/>
      </dsp:nvSpPr>
      <dsp:spPr>
        <a:xfrm>
          <a:off x="0" y="630809"/>
          <a:ext cx="10905699" cy="116457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247056-B4A0-4826-9B47-B9CAEC2C5FE6}">
      <dsp:nvSpPr>
        <dsp:cNvPr id="0" name=""/>
        <dsp:cNvSpPr/>
      </dsp:nvSpPr>
      <dsp:spPr>
        <a:xfrm>
          <a:off x="352282" y="892837"/>
          <a:ext cx="640514" cy="640514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12EDAB-2553-4835-8E09-090558921C8C}">
      <dsp:nvSpPr>
        <dsp:cNvPr id="0" name=""/>
        <dsp:cNvSpPr/>
      </dsp:nvSpPr>
      <dsp:spPr>
        <a:xfrm>
          <a:off x="1345079" y="630809"/>
          <a:ext cx="9560619" cy="11645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250" tIns="123250" rIns="123250" bIns="123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inform the EMOS secretariat of any changes</a:t>
          </a:r>
        </a:p>
      </dsp:txBody>
      <dsp:txXfrm>
        <a:off x="1345079" y="630809"/>
        <a:ext cx="9560619" cy="1164571"/>
      </dsp:txXfrm>
    </dsp:sp>
    <dsp:sp modelId="{B77CDC51-9A9C-4E23-9153-38B4C027E24C}">
      <dsp:nvSpPr>
        <dsp:cNvPr id="0" name=""/>
        <dsp:cNvSpPr/>
      </dsp:nvSpPr>
      <dsp:spPr>
        <a:xfrm>
          <a:off x="0" y="2086523"/>
          <a:ext cx="10905699" cy="1164571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B85011-F964-4D22-BB17-61485413F4F1}">
      <dsp:nvSpPr>
        <dsp:cNvPr id="0" name=""/>
        <dsp:cNvSpPr/>
      </dsp:nvSpPr>
      <dsp:spPr>
        <a:xfrm>
          <a:off x="352282" y="2348551"/>
          <a:ext cx="640514" cy="640514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E8D1B5-942D-4AF0-A001-1A81D7889EDB}">
      <dsp:nvSpPr>
        <dsp:cNvPr id="0" name=""/>
        <dsp:cNvSpPr/>
      </dsp:nvSpPr>
      <dsp:spPr>
        <a:xfrm>
          <a:off x="1345079" y="2086523"/>
          <a:ext cx="9560619" cy="11645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3250" tIns="123250" rIns="123250" bIns="12325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hare messages with relevant individuals within your organization</a:t>
          </a:r>
        </a:p>
      </dsp:txBody>
      <dsp:txXfrm>
        <a:off x="1345079" y="2086523"/>
        <a:ext cx="9560619" cy="1164571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B55952-5020-443E-BBAB-842FDD78954D}">
      <dsp:nvSpPr>
        <dsp:cNvPr id="0" name=""/>
        <dsp:cNvSpPr/>
      </dsp:nvSpPr>
      <dsp:spPr>
        <a:xfrm>
          <a:off x="0" y="627950"/>
          <a:ext cx="10740777" cy="972308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247056-B4A0-4826-9B47-B9CAEC2C5FE6}">
      <dsp:nvSpPr>
        <dsp:cNvPr id="0" name=""/>
        <dsp:cNvSpPr/>
      </dsp:nvSpPr>
      <dsp:spPr>
        <a:xfrm>
          <a:off x="323535" y="819980"/>
          <a:ext cx="588246" cy="58824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12EDAB-2553-4835-8E09-090558921C8C}">
      <dsp:nvSpPr>
        <dsp:cNvPr id="0" name=""/>
        <dsp:cNvSpPr/>
      </dsp:nvSpPr>
      <dsp:spPr>
        <a:xfrm>
          <a:off x="1235318" y="579334"/>
          <a:ext cx="9505458" cy="10695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93" tIns="113193" rIns="113193" bIns="11319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encourage and invite your students to participate in the ‘Meet EMOS students’</a:t>
          </a:r>
          <a:endParaRPr lang="de-DE" sz="2500" kern="1200" dirty="0"/>
        </a:p>
      </dsp:txBody>
      <dsp:txXfrm>
        <a:off x="1235318" y="579334"/>
        <a:ext cx="9505458" cy="1069539"/>
      </dsp:txXfrm>
    </dsp:sp>
    <dsp:sp modelId="{B77CDC51-9A9C-4E23-9153-38B4C027E24C}">
      <dsp:nvSpPr>
        <dsp:cNvPr id="0" name=""/>
        <dsp:cNvSpPr/>
      </dsp:nvSpPr>
      <dsp:spPr>
        <a:xfrm>
          <a:off x="0" y="1916258"/>
          <a:ext cx="10740777" cy="106953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B85011-F964-4D22-BB17-61485413F4F1}">
      <dsp:nvSpPr>
        <dsp:cNvPr id="0" name=""/>
        <dsp:cNvSpPr/>
      </dsp:nvSpPr>
      <dsp:spPr>
        <a:xfrm>
          <a:off x="323535" y="2156905"/>
          <a:ext cx="588246" cy="58824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E8D1B5-942D-4AF0-A001-1A81D7889EDB}">
      <dsp:nvSpPr>
        <dsp:cNvPr id="0" name=""/>
        <dsp:cNvSpPr/>
      </dsp:nvSpPr>
      <dsp:spPr>
        <a:xfrm>
          <a:off x="1235318" y="1916258"/>
          <a:ext cx="9505458" cy="106953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193" tIns="113193" rIns="113193" bIns="113193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respond to the EMOS secretariat invitation to be featured in the ‘Meet </a:t>
          </a:r>
          <a:r>
            <a:rPr lang="en-001" sz="2500" kern="1200" dirty="0"/>
            <a:t>the </a:t>
          </a:r>
          <a:r>
            <a:rPr lang="en-US" sz="2500" kern="1200" dirty="0"/>
            <a:t>EMOS network’ </a:t>
          </a:r>
          <a:endParaRPr lang="de-DE" sz="2500" kern="1200" dirty="0"/>
        </a:p>
      </dsp:txBody>
      <dsp:txXfrm>
        <a:off x="1235318" y="1916258"/>
        <a:ext cx="9505458" cy="106953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B55952-5020-443E-BBAB-842FDD78954D}">
      <dsp:nvSpPr>
        <dsp:cNvPr id="0" name=""/>
        <dsp:cNvSpPr/>
      </dsp:nvSpPr>
      <dsp:spPr>
        <a:xfrm>
          <a:off x="0" y="478747"/>
          <a:ext cx="10829925" cy="88384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247056-B4A0-4826-9B47-B9CAEC2C5FE6}">
      <dsp:nvSpPr>
        <dsp:cNvPr id="0" name=""/>
        <dsp:cNvSpPr/>
      </dsp:nvSpPr>
      <dsp:spPr>
        <a:xfrm>
          <a:off x="267362" y="677612"/>
          <a:ext cx="486113" cy="48611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12EDAB-2553-4835-8E09-090558921C8C}">
      <dsp:nvSpPr>
        <dsp:cNvPr id="0" name=""/>
        <dsp:cNvSpPr/>
      </dsp:nvSpPr>
      <dsp:spPr>
        <a:xfrm>
          <a:off x="1020837" y="478747"/>
          <a:ext cx="9809088" cy="883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3540" tIns="93540" rIns="93540" bIns="9354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share your research work with the EMOS network</a:t>
          </a:r>
          <a:endParaRPr lang="de-DE" sz="2500" kern="1200" dirty="0"/>
        </a:p>
      </dsp:txBody>
      <dsp:txXfrm>
        <a:off x="1020837" y="478747"/>
        <a:ext cx="9809088" cy="883842"/>
      </dsp:txXfrm>
    </dsp:sp>
    <dsp:sp modelId="{B77CDC51-9A9C-4E23-9153-38B4C027E24C}">
      <dsp:nvSpPr>
        <dsp:cNvPr id="0" name=""/>
        <dsp:cNvSpPr/>
      </dsp:nvSpPr>
      <dsp:spPr>
        <a:xfrm>
          <a:off x="0" y="1583550"/>
          <a:ext cx="10829925" cy="88384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B85011-F964-4D22-BB17-61485413F4F1}">
      <dsp:nvSpPr>
        <dsp:cNvPr id="0" name=""/>
        <dsp:cNvSpPr/>
      </dsp:nvSpPr>
      <dsp:spPr>
        <a:xfrm>
          <a:off x="267362" y="1782414"/>
          <a:ext cx="486113" cy="48611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E8D1B5-942D-4AF0-A001-1A81D7889EDB}">
      <dsp:nvSpPr>
        <dsp:cNvPr id="0" name=""/>
        <dsp:cNvSpPr/>
      </dsp:nvSpPr>
      <dsp:spPr>
        <a:xfrm>
          <a:off x="1020837" y="1583550"/>
          <a:ext cx="9809088" cy="883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3540" tIns="93540" rIns="93540" bIns="9354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connect with members of the EMOS network with similar research interests</a:t>
          </a:r>
          <a:endParaRPr lang="de-DE" sz="2500" kern="1200" dirty="0"/>
        </a:p>
      </dsp:txBody>
      <dsp:txXfrm>
        <a:off x="1020837" y="1583550"/>
        <a:ext cx="9809088" cy="88384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B55952-5020-443E-BBAB-842FDD78954D}">
      <dsp:nvSpPr>
        <dsp:cNvPr id="0" name=""/>
        <dsp:cNvSpPr/>
      </dsp:nvSpPr>
      <dsp:spPr>
        <a:xfrm>
          <a:off x="0" y="478747"/>
          <a:ext cx="10829925" cy="88384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247056-B4A0-4826-9B47-B9CAEC2C5FE6}">
      <dsp:nvSpPr>
        <dsp:cNvPr id="0" name=""/>
        <dsp:cNvSpPr/>
      </dsp:nvSpPr>
      <dsp:spPr>
        <a:xfrm>
          <a:off x="267362" y="677612"/>
          <a:ext cx="486113" cy="48611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12EDAB-2553-4835-8E09-090558921C8C}">
      <dsp:nvSpPr>
        <dsp:cNvPr id="0" name=""/>
        <dsp:cNvSpPr/>
      </dsp:nvSpPr>
      <dsp:spPr>
        <a:xfrm>
          <a:off x="1020837" y="478747"/>
          <a:ext cx="9809088" cy="883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3540" tIns="93540" rIns="93540" bIns="9354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join and actively contribute to the EMOS LinkedIn page: share job opportunities and relevant events </a:t>
          </a:r>
          <a:endParaRPr lang="de-DE" sz="2500" kern="1200" dirty="0"/>
        </a:p>
      </dsp:txBody>
      <dsp:txXfrm>
        <a:off x="1020837" y="478747"/>
        <a:ext cx="9809088" cy="883842"/>
      </dsp:txXfrm>
    </dsp:sp>
    <dsp:sp modelId="{B77CDC51-9A9C-4E23-9153-38B4C027E24C}">
      <dsp:nvSpPr>
        <dsp:cNvPr id="0" name=""/>
        <dsp:cNvSpPr/>
      </dsp:nvSpPr>
      <dsp:spPr>
        <a:xfrm>
          <a:off x="0" y="1583550"/>
          <a:ext cx="10829925" cy="88384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B85011-F964-4D22-BB17-61485413F4F1}">
      <dsp:nvSpPr>
        <dsp:cNvPr id="0" name=""/>
        <dsp:cNvSpPr/>
      </dsp:nvSpPr>
      <dsp:spPr>
        <a:xfrm>
          <a:off x="267362" y="1782414"/>
          <a:ext cx="486113" cy="48611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E8D1B5-942D-4AF0-A001-1A81D7889EDB}">
      <dsp:nvSpPr>
        <dsp:cNvPr id="0" name=""/>
        <dsp:cNvSpPr/>
      </dsp:nvSpPr>
      <dsp:spPr>
        <a:xfrm>
          <a:off x="1020837" y="1583550"/>
          <a:ext cx="9809088" cy="883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3540" tIns="93540" rIns="93540" bIns="9354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invite students, graduates and network partners to follow the page </a:t>
          </a:r>
          <a:endParaRPr lang="de-DE" sz="2500" kern="1200" dirty="0"/>
        </a:p>
      </dsp:txBody>
      <dsp:txXfrm>
        <a:off x="1020837" y="1583550"/>
        <a:ext cx="9809088" cy="88384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AB55952-5020-443E-BBAB-842FDD78954D}">
      <dsp:nvSpPr>
        <dsp:cNvPr id="0" name=""/>
        <dsp:cNvSpPr/>
      </dsp:nvSpPr>
      <dsp:spPr>
        <a:xfrm>
          <a:off x="0" y="478747"/>
          <a:ext cx="10829925" cy="88384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4247056-B4A0-4826-9B47-B9CAEC2C5FE6}">
      <dsp:nvSpPr>
        <dsp:cNvPr id="0" name=""/>
        <dsp:cNvSpPr/>
      </dsp:nvSpPr>
      <dsp:spPr>
        <a:xfrm>
          <a:off x="267362" y="677612"/>
          <a:ext cx="486113" cy="48611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C12EDAB-2553-4835-8E09-090558921C8C}">
      <dsp:nvSpPr>
        <dsp:cNvPr id="0" name=""/>
        <dsp:cNvSpPr/>
      </dsp:nvSpPr>
      <dsp:spPr>
        <a:xfrm>
          <a:off x="1020837" y="478747"/>
          <a:ext cx="9809088" cy="883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3540" tIns="93540" rIns="93540" bIns="9354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in case of interest, contact the EMOS secretariat</a:t>
          </a:r>
          <a:endParaRPr lang="de-DE" sz="2500" kern="1200" dirty="0"/>
        </a:p>
      </dsp:txBody>
      <dsp:txXfrm>
        <a:off x="1020837" y="478747"/>
        <a:ext cx="9809088" cy="883842"/>
      </dsp:txXfrm>
    </dsp:sp>
    <dsp:sp modelId="{B77CDC51-9A9C-4E23-9153-38B4C027E24C}">
      <dsp:nvSpPr>
        <dsp:cNvPr id="0" name=""/>
        <dsp:cNvSpPr/>
      </dsp:nvSpPr>
      <dsp:spPr>
        <a:xfrm>
          <a:off x="0" y="1583550"/>
          <a:ext cx="10829925" cy="883842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2B85011-F964-4D22-BB17-61485413F4F1}">
      <dsp:nvSpPr>
        <dsp:cNvPr id="0" name=""/>
        <dsp:cNvSpPr/>
      </dsp:nvSpPr>
      <dsp:spPr>
        <a:xfrm>
          <a:off x="267362" y="1782414"/>
          <a:ext cx="486113" cy="486113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E8D1B5-942D-4AF0-A001-1A81D7889EDB}">
      <dsp:nvSpPr>
        <dsp:cNvPr id="0" name=""/>
        <dsp:cNvSpPr/>
      </dsp:nvSpPr>
      <dsp:spPr>
        <a:xfrm>
          <a:off x="1020837" y="1583550"/>
          <a:ext cx="9809088" cy="88384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3540" tIns="93540" rIns="93540" bIns="93540" numCol="1" spcCol="1270" anchor="ctr" anchorCtr="0">
          <a:noAutofit/>
        </a:bodyPr>
        <a:lstStyle/>
        <a:p>
          <a:pPr marL="0" lvl="0" indent="0" algn="l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500" kern="1200" dirty="0"/>
            <a:t>inform of any specific topics or areas that should be covered</a:t>
          </a:r>
          <a:endParaRPr lang="de-DE" sz="2500" kern="1200" dirty="0"/>
        </a:p>
      </dsp:txBody>
      <dsp:txXfrm>
        <a:off x="1020837" y="1583550"/>
        <a:ext cx="9809088" cy="88384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939EFE-0303-44F6-9A16-FD3B5E015DB1}" type="datetimeFigureOut">
              <a:rPr lang="en-GB" smtClean="0"/>
              <a:t>21/03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F04766-77AF-4EBE-9704-229FD5F6AD6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8988126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3B926D1-0013-4A80-B64E-9D824EE65210}" type="datetimeFigureOut">
              <a:rPr lang="en-GB" smtClean="0"/>
              <a:t>21/03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CF2995-AB43-4B7C-B8CD-9DC7C3692A9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7846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CF2995-AB43-4B7C-B8CD-9DC7C3692A9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10327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3"/>
            <a:ext cx="12192000" cy="5779827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218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67745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6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604979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371761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71010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26941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4301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59635" y="-59635"/>
            <a:ext cx="6155635" cy="6983896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447" y="743802"/>
            <a:ext cx="544923" cy="54492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8331" y="1992572"/>
            <a:ext cx="8226040" cy="3616657"/>
          </a:xfrm>
          <a:solidFill>
            <a:schemeClr val="bg1"/>
          </a:solidFill>
        </p:spPr>
        <p:txBody>
          <a:bodyPr lIns="360000" tIns="360000" rIns="360000" bIns="360000" anchor="ctr" anchorCtr="0">
            <a:noAutofit/>
          </a:bodyPr>
          <a:lstStyle>
            <a:lvl1pPr marL="0" indent="0">
              <a:buFontTx/>
              <a:buNone/>
              <a:defRPr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4062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7056" y="1825625"/>
            <a:ext cx="4926841" cy="376995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817056" y="482860"/>
            <a:ext cx="4669266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2034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70722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01451" y="2284668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436086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1206774" y="403868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72139" y="404194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137503" y="4037437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01072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713869" y="2159957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13868" y="3968881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24547" y="2159956"/>
            <a:ext cx="2461593" cy="1638159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935227" y="3968880"/>
            <a:ext cx="2520000" cy="1638158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1033617" y="2159957"/>
            <a:ext cx="2520000" cy="1638159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324549" y="3968880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1033617" y="3968881"/>
            <a:ext cx="2520000" cy="1638158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8966322" y="2159956"/>
            <a:ext cx="2520000" cy="1638159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85566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838200" y="3630613"/>
            <a:ext cx="10515600" cy="20351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677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1411803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</p:spPr>
        <p:txBody>
          <a:bodyPr anchor="t">
            <a:norm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783535"/>
            <a:ext cx="5040313" cy="528998"/>
          </a:xfrm>
        </p:spPr>
        <p:txBody>
          <a:bodyPr anchor="b" anchorCtr="0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99858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3"/>
            <a:ext cx="12192000" cy="5779827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77130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850288"/>
            <a:ext cx="12192000" cy="5018345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Rectangle 4"/>
          <p:cNvSpPr/>
          <p:nvPr userDrawn="1"/>
        </p:nvSpPr>
        <p:spPr>
          <a:xfrm>
            <a:off x="0" y="1078174"/>
            <a:ext cx="12192000" cy="28908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872647"/>
          </a:xfrm>
        </p:spPr>
        <p:txBody>
          <a:bodyPr anchor="t">
            <a:norm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1071351" y="3067468"/>
            <a:ext cx="10065224" cy="897754"/>
          </a:xfrm>
        </p:spPr>
        <p:txBody>
          <a:bodyPr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783535"/>
            <a:ext cx="5040313" cy="528998"/>
          </a:xfrm>
        </p:spPr>
        <p:txBody>
          <a:bodyPr anchor="b" anchorCtr="0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0255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2219"/>
            <a:ext cx="12192000" cy="6059194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 wrap="none"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 wrap="none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4709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8185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53559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36418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0426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/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051792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27053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3pPr>
              <a:spcBef>
                <a:spcPts val="0"/>
              </a:spcBef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0" name="Straight Connector 9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78143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02219"/>
            <a:ext cx="12192000" cy="6059194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5289" y="1078173"/>
            <a:ext cx="12197346" cy="5783239"/>
          </a:xfrm>
          <a:prstGeom prst="rect">
            <a:avLst/>
          </a:prstGeom>
          <a:solidFill>
            <a:srgbClr val="024EA2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>
              <a:solidFill>
                <a:schemeClr val="accent4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0"/>
            <a:ext cx="12192000" cy="1078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1071350" y="1992572"/>
            <a:ext cx="10065224" cy="2149523"/>
          </a:xfrm>
        </p:spPr>
        <p:txBody>
          <a:bodyPr wrap="none" anchor="t">
            <a:noAutofit/>
          </a:bodyPr>
          <a:lstStyle>
            <a:lvl1pPr algn="l">
              <a:defRPr sz="60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1978925"/>
            <a:ext cx="0" cy="4879075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 userDrawn="1"/>
        </p:nvSpPr>
        <p:spPr>
          <a:xfrm>
            <a:off x="5741158" y="6619164"/>
            <a:ext cx="707409" cy="240594"/>
          </a:xfrm>
          <a:prstGeom prst="rect">
            <a:avLst/>
          </a:prstGeom>
          <a:solidFill>
            <a:srgbClr val="00449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1071351" y="4418049"/>
            <a:ext cx="10065224" cy="897754"/>
          </a:xfrm>
        </p:spPr>
        <p:txBody>
          <a:bodyPr wrap="none">
            <a:noAutofit/>
          </a:bodyPr>
          <a:lstStyle>
            <a:lvl1pPr marL="0" indent="0" algn="l">
              <a:buNone/>
              <a:defRPr sz="2800" i="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8933" y="258042"/>
            <a:ext cx="1659793" cy="1152460"/>
          </a:xfrm>
          <a:prstGeom prst="rect">
            <a:avLst/>
          </a:prstGeom>
        </p:spPr>
      </p:pic>
      <p:sp>
        <p:nvSpPr>
          <p:cNvPr id="16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6096000" y="5557903"/>
            <a:ext cx="5040313" cy="528998"/>
          </a:xfrm>
        </p:spPr>
        <p:txBody>
          <a:bodyPr wrap="none">
            <a:noAutofit/>
          </a:bodyPr>
          <a:lstStyle>
            <a:lvl1pPr marL="0" indent="0" algn="r">
              <a:buFontTx/>
              <a:buNone/>
              <a:defRPr sz="220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4428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6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9" name="Content Placeholder 2"/>
          <p:cNvSpPr>
            <a:spLocks noGrp="1"/>
          </p:cNvSpPr>
          <p:nvPr>
            <p:ph sz="half" idx="13"/>
          </p:nvPr>
        </p:nvSpPr>
        <p:spPr>
          <a:xfrm>
            <a:off x="4604979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4"/>
          </p:nvPr>
        </p:nvSpPr>
        <p:spPr>
          <a:xfrm>
            <a:off x="8371761" y="1825625"/>
            <a:ext cx="3358489" cy="3763134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75439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noFill/>
        </p:spPr>
        <p:txBody>
          <a:bodyPr wrap="square" anchor="b">
            <a:noAutofit/>
          </a:bodyPr>
          <a:lstStyle>
            <a:lvl1pPr marL="0" indent="0">
              <a:buNone/>
              <a:defRPr sz="28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097331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12" name="Straight Connector 11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78993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12042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59635" y="-59635"/>
            <a:ext cx="6155635" cy="6983896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3214048" y="1992573"/>
            <a:ext cx="8550322" cy="36166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19447" y="743802"/>
            <a:ext cx="544923" cy="544923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38331" y="1992572"/>
            <a:ext cx="8226040" cy="3616657"/>
          </a:xfrm>
          <a:solidFill>
            <a:schemeClr val="bg1"/>
          </a:solidFill>
        </p:spPr>
        <p:txBody>
          <a:bodyPr lIns="360000" tIns="360000" rIns="360000" bIns="360000" anchor="ctr" anchorCtr="0">
            <a:noAutofit/>
          </a:bodyPr>
          <a:lstStyle>
            <a:lvl1pPr marL="0" indent="0">
              <a:buFontTx/>
              <a:buNone/>
              <a:defRPr i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5132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Content (half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17056" y="1825625"/>
            <a:ext cx="4926841" cy="3769957"/>
          </a:xfrm>
        </p:spPr>
        <p:txBody>
          <a:bodyPr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6817056" y="482860"/>
            <a:ext cx="4669266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-46383" y="-46383"/>
            <a:ext cx="6142383" cy="6964017"/>
          </a:xfrm>
          <a:solidFill>
            <a:schemeClr val="bg2"/>
          </a:solidFill>
          <a:ln w="28575">
            <a:solidFill>
              <a:schemeClr val="accent5"/>
            </a:solidFill>
          </a:ln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874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970722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7901451" y="2284668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4436086" y="2284667"/>
            <a:ext cx="3141663" cy="2090737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1206774" y="403868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7"/>
          </p:nvPr>
        </p:nvSpPr>
        <p:spPr>
          <a:xfrm>
            <a:off x="4672139" y="4041944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8137503" y="4037437"/>
            <a:ext cx="2669558" cy="1524235"/>
          </a:xfrm>
          <a:solidFill>
            <a:schemeClr val="bg1"/>
          </a:solidFill>
        </p:spPr>
        <p:txBody>
          <a:bodyPr tIns="90000"/>
          <a:lstStyle>
            <a:lvl1pPr marL="0" indent="0" algn="ct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554913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8" name="Straight Connector 7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3713869" y="2159957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13868" y="3968881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6324547" y="2159956"/>
            <a:ext cx="2461593" cy="1638159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8935227" y="3968880"/>
            <a:ext cx="2520000" cy="1638158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1033617" y="2159957"/>
            <a:ext cx="2520000" cy="1638159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324549" y="3968880"/>
            <a:ext cx="2461591" cy="163815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20"/>
          </p:nvPr>
        </p:nvSpPr>
        <p:spPr>
          <a:xfrm>
            <a:off x="1033617" y="3968881"/>
            <a:ext cx="2520000" cy="1638158"/>
          </a:xfrm>
          <a:noFill/>
        </p:spPr>
        <p:txBody>
          <a:bodyPr tIns="90000"/>
          <a:lstStyle>
            <a:lvl1pPr marL="0" indent="0" algn="r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21"/>
          </p:nvPr>
        </p:nvSpPr>
        <p:spPr>
          <a:xfrm>
            <a:off x="8966322" y="2159956"/>
            <a:ext cx="2520000" cy="1638159"/>
          </a:xfrm>
          <a:noFill/>
        </p:spPr>
        <p:txBody>
          <a:bodyPr tIns="90000"/>
          <a:lstStyle>
            <a:lvl1pPr marL="0" indent="0" algn="l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3603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429000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646643"/>
            <a:ext cx="10515600" cy="782357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838200" y="3630613"/>
            <a:ext cx="10515600" cy="20351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85996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3518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356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0189" y="1122363"/>
            <a:ext cx="10676038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676038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715" y="6045257"/>
            <a:ext cx="1718512" cy="451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6990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865"/>
            <a:ext cx="1716200" cy="450546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2387600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3295934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1070189" y="3602038"/>
            <a:ext cx="10156297" cy="1655762"/>
          </a:xfrm>
        </p:spPr>
        <p:txBody>
          <a:bodyPr>
            <a:no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32509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604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 (option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1"/>
            <a:ext cx="12192000" cy="34289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1077013" y="1122363"/>
            <a:ext cx="10156297" cy="1240348"/>
          </a:xfrm>
        </p:spPr>
        <p:txBody>
          <a:bodyPr anchor="b">
            <a:noAutofit/>
          </a:bodyPr>
          <a:lstStyle>
            <a:lvl1pPr algn="l">
              <a:defRPr sz="60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838200" y="0"/>
            <a:ext cx="0" cy="2362711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838200" y="4160826"/>
            <a:ext cx="10889439" cy="1620145"/>
          </a:xfrm>
        </p:spPr>
        <p:txBody>
          <a:bodyPr>
            <a:noAutofit/>
          </a:bodyPr>
          <a:lstStyle>
            <a:lvl1pPr marL="0" indent="0" algn="l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8339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388190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defRPr/>
            </a:lvl1pPr>
            <a:lvl2pPr>
              <a:lnSpc>
                <a:spcPct val="100000"/>
              </a:lnSpc>
              <a:spcAft>
                <a:spcPts val="1800"/>
              </a:spcAft>
              <a:defRPr/>
            </a:lvl2pPr>
            <a:lvl3pPr>
              <a:lnSpc>
                <a:spcPct val="100000"/>
              </a:lnSpc>
              <a:spcAft>
                <a:spcPts val="1800"/>
              </a:spcAft>
              <a:defRPr/>
            </a:lvl3pPr>
            <a:lvl4pPr>
              <a:lnSpc>
                <a:spcPct val="100000"/>
              </a:lnSpc>
              <a:spcAft>
                <a:spcPts val="1800"/>
              </a:spcAft>
              <a:defRPr/>
            </a:lvl4pPr>
            <a:lvl5pPr>
              <a:lnSpc>
                <a:spcPct val="100000"/>
              </a:lnSpc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23415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>
            <a:noAutofit/>
          </a:bodyPr>
          <a:lstStyle>
            <a:lvl1pPr>
              <a:spcAft>
                <a:spcPts val="1800"/>
              </a:spcAft>
              <a:defRPr/>
            </a:lvl1pPr>
            <a:lvl2pPr>
              <a:spcAft>
                <a:spcPts val="1800"/>
              </a:spcAft>
              <a:defRPr/>
            </a:lvl2pPr>
            <a:lvl3pPr>
              <a:spcAft>
                <a:spcPts val="1800"/>
              </a:spcAft>
              <a:defRPr/>
            </a:lvl3pPr>
            <a:lvl4pPr>
              <a:spcAft>
                <a:spcPts val="1800"/>
              </a:spcAft>
              <a:defRPr/>
            </a:lvl4pPr>
            <a:lvl5pPr>
              <a:spcAft>
                <a:spcPts val="18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02250" y="1825625"/>
            <a:ext cx="5328000" cy="3906435"/>
          </a:xfrm>
          <a:noFill/>
        </p:spPr>
        <p:txBody>
          <a:bodyPr>
            <a:noAutofit/>
          </a:bodyPr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F46C79FD-C571-418B-AB0F-5EE936C85276}" type="slidenum">
              <a:rPr lang="en-GB" smtClean="0"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838199" y="0"/>
            <a:ext cx="1" cy="1276357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03839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tags" Target="../tags/tag1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image" Target="../media/image1.png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7.emf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972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62" r:id="rId2"/>
    <p:sldLayoutId id="2147483657" r:id="rId3"/>
    <p:sldLayoutId id="2147483649" r:id="rId4"/>
    <p:sldLayoutId id="2147483651" r:id="rId5"/>
    <p:sldLayoutId id="2147483669" r:id="rId6"/>
    <p:sldLayoutId id="2147483670" r:id="rId7"/>
    <p:sldLayoutId id="2147483650" r:id="rId8"/>
    <p:sldLayoutId id="2147483660" r:id="rId9"/>
    <p:sldLayoutId id="2147483652" r:id="rId10"/>
    <p:sldLayoutId id="2147483661" r:id="rId11"/>
    <p:sldLayoutId id="2147483653" r:id="rId12"/>
    <p:sldLayoutId id="2147483654" r:id="rId13"/>
    <p:sldLayoutId id="2147483659" r:id="rId14"/>
    <p:sldLayoutId id="2147483658" r:id="rId15"/>
    <p:sldLayoutId id="2147483666" r:id="rId16"/>
    <p:sldLayoutId id="2147483667" r:id="rId17"/>
    <p:sldLayoutId id="2147483668" r:id="rId18"/>
    <p:sldLayoutId id="2147483655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189554-86C2-49DB-AF84-C8DE394E72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9937881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04" imgH="405" progId="TCLayout.ActiveDocument.1">
                  <p:embed/>
                </p:oleObj>
              </mc:Choice>
              <mc:Fallback>
                <p:oleObj name="think-cell Slide" r:id="rId22" imgW="404" imgH="40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189554-86C2-49DB-AF84-C8DE394E7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482860"/>
            <a:ext cx="10515600" cy="782357"/>
          </a:xfrm>
          <a:prstGeom prst="rect">
            <a:avLst/>
          </a:prstGeom>
        </p:spPr>
        <p:txBody>
          <a:bodyPr vert="horz" lIns="91440" tIns="45720" rIns="9144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8819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8200" y="613128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46C79FD-C571-418B-AB0F-5EE936C85276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33852" y="6045988"/>
            <a:ext cx="1715733" cy="45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980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hyperlink" Target="https://emos.stat.gov.pl/en/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hyperlink" Target="https://ls-eda.unibg.it/en/opportunities/emos" TargetMode="Externa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hyperlink" Target="https://twitter.com/EU_EMOS" TargetMode="External"/><Relationship Id="rId3" Type="http://schemas.openxmlformats.org/officeDocument/2006/relationships/image" Target="../media/image22.png"/><Relationship Id="rId7" Type="http://schemas.openxmlformats.org/officeDocument/2006/relationships/hyperlink" Target="https://www.youtube.com/@europeanmasterinofficialst492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linkedin.com/company/theemos/" TargetMode="Externa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@europeanmasterinofficialst492/featured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9.jpe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9.jpe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7" Type="http://schemas.openxmlformats.org/officeDocument/2006/relationships/image" Target="../media/image9.jpe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7" Type="http://schemas.openxmlformats.org/officeDocument/2006/relationships/image" Target="../media/image9.jpe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7" Type="http://schemas.openxmlformats.org/officeDocument/2006/relationships/image" Target="../media/image9.jpe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o99oEcxkYKE" TargetMode="External"/><Relationship Id="rId2" Type="http://schemas.openxmlformats.org/officeDocument/2006/relationships/hyperlink" Target="https://www.youtube.com/watch?v=n9wqLkl1o9E" TargetMode="Externa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.jpeg"/><Relationship Id="rId5" Type="http://schemas.openxmlformats.org/officeDocument/2006/relationships/hyperlink" Target="https://www.youtube.com/watch?v=qZzfK1dyBEA" TargetMode="External"/><Relationship Id="rId4" Type="http://schemas.openxmlformats.org/officeDocument/2006/relationships/hyperlink" Target="https://www.youtube.com/watch?v=0qeaN7OyWOQ" TargetMode="Externa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hyperlink" Target="https://www.emos-events.com/events/nsis-supporting-emos-2" TargetMode="External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hyperlink" Target="mailto:ESTAT-EMOS@ec.europa.eu" TargetMode="External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hyperlink" Target="http://www.linkedin.com/company/theemos" TargetMode="Externa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cros.ec.europa.eu/dashboard/emos-dashboard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9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ros.ec.europa.eu/book-page/emos-programmes-across-europe-0" TargetMode="External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1055426" y="2533025"/>
            <a:ext cx="10065224" cy="2149523"/>
          </a:xfrm>
        </p:spPr>
        <p:txBody>
          <a:bodyPr>
            <a:noAutofit/>
          </a:bodyPr>
          <a:lstStyle/>
          <a:p>
            <a:r>
              <a:rPr lang="de-DE" sz="2400" dirty="0"/>
              <a:t>EMOS network </a:t>
            </a:r>
            <a:r>
              <a:rPr lang="de-DE" sz="2400" dirty="0" err="1"/>
              <a:t>meeting</a:t>
            </a:r>
            <a:br>
              <a:rPr lang="de-DE" sz="3600" dirty="0"/>
            </a:br>
            <a:br>
              <a:rPr lang="de-DE" sz="3600" dirty="0"/>
            </a:br>
            <a:r>
              <a:rPr lang="en-GB" sz="4800" dirty="0"/>
              <a:t>EMOS communication activities</a:t>
            </a:r>
            <a:br>
              <a:rPr lang="de-DE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GB" sz="3600" dirty="0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>
          <a:xfrm>
            <a:off x="1055426" y="5028905"/>
            <a:ext cx="5024649" cy="528998"/>
          </a:xfrm>
        </p:spPr>
        <p:txBody>
          <a:bodyPr/>
          <a:lstStyle/>
          <a:p>
            <a:r>
              <a:rPr lang="en-001" dirty="0"/>
              <a:t>6 </a:t>
            </a:r>
            <a:r>
              <a:rPr lang="de-DE" dirty="0"/>
              <a:t>March</a:t>
            </a:r>
            <a:r>
              <a:rPr lang="en-001" dirty="0"/>
              <a:t> 2024</a:t>
            </a:r>
          </a:p>
          <a:p>
            <a:endParaRPr lang="en-GB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6F9BA2B6-B009-CE08-EEAB-D236EE62966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48" t="26419" r="12915" b="21582"/>
          <a:stretch/>
        </p:blipFill>
        <p:spPr>
          <a:xfrm>
            <a:off x="10106119" y="1467907"/>
            <a:ext cx="1746389" cy="1452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3718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 descr="A blue circle with a red triangle&#10;&#10;Description automatically generated">
            <a:extLst>
              <a:ext uri="{FF2B5EF4-FFF2-40B4-BE49-F238E27FC236}">
                <a16:creationId xmlns:a16="http://schemas.microsoft.com/office/drawing/2014/main" id="{EF560317-FE4B-445D-759A-786CF1D4506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/>
          <a:srcRect l="8368" r="9112" b="5"/>
          <a:stretch/>
        </p:blipFill>
        <p:spPr>
          <a:xfrm>
            <a:off x="838198" y="1825625"/>
            <a:ext cx="5328000" cy="3906435"/>
          </a:xfrm>
          <a:prstGeom prst="rect">
            <a:avLst/>
          </a:prstGeom>
          <a:noFill/>
        </p:spPr>
      </p:pic>
      <p:pic>
        <p:nvPicPr>
          <p:cNvPr id="6" name="Picture 5" descr="A red circle with a blue triangle&#10;&#10;Description automatically generated">
            <a:extLst>
              <a:ext uri="{FF2B5EF4-FFF2-40B4-BE49-F238E27FC236}">
                <a16:creationId xmlns:a16="http://schemas.microsoft.com/office/drawing/2014/main" id="{63A8A6EE-18D6-9204-4E0D-2D9449DFBCE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943" r="9355" b="3"/>
          <a:stretch/>
        </p:blipFill>
        <p:spPr>
          <a:xfrm>
            <a:off x="6402250" y="1825625"/>
            <a:ext cx="5328000" cy="3906435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0A834AF-D1B7-1652-30AB-8BDBE6CF4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b">
            <a:normAutofit/>
          </a:bodyPr>
          <a:lstStyle/>
          <a:p>
            <a:r>
              <a:rPr lang="de-DE" dirty="0"/>
              <a:t>EMOS network </a:t>
            </a:r>
            <a:r>
              <a:rPr lang="en-001" dirty="0"/>
              <a:t>partners </a:t>
            </a:r>
            <a:r>
              <a:rPr lang="de-DE" dirty="0" err="1"/>
              <a:t>webpages</a:t>
            </a:r>
            <a:endParaRPr lang="de-DE" dirty="0"/>
          </a:p>
        </p:txBody>
      </p:sp>
      <p:pic>
        <p:nvPicPr>
          <p:cNvPr id="2" name="Picture 1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BD4B63B5-9B7A-4C85-07E4-A5C1C5B98BC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5667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A78FD047-DAA8-7334-03DC-DC05D2C70B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 anchor="ctr"/>
          <a:lstStyle/>
          <a:p>
            <a:r>
              <a:rPr lang="en-001" dirty="0"/>
              <a:t>EMOS on Statistics Poland website</a:t>
            </a:r>
          </a:p>
          <a:p>
            <a:pPr marL="0" indent="0">
              <a:buNone/>
            </a:pPr>
            <a:r>
              <a:rPr lang="en-US" dirty="0">
                <a:hlinkClick r:id="rId2"/>
              </a:rPr>
              <a:t>https://emos.stat.gov.pl/en/</a:t>
            </a:r>
            <a:r>
              <a:rPr lang="en-001" dirty="0"/>
              <a:t> 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E73BCAD-37C9-B411-B16E-679C27B93FF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02250" y="2280343"/>
            <a:ext cx="5328000" cy="2996999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80A834AF-D1B7-1652-30AB-8BDBE6CF4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b">
            <a:normAutofit/>
          </a:bodyPr>
          <a:lstStyle/>
          <a:p>
            <a:r>
              <a:rPr lang="de-DE" dirty="0"/>
              <a:t>EMOS network </a:t>
            </a:r>
            <a:r>
              <a:rPr lang="en-001" dirty="0"/>
              <a:t>partners </a:t>
            </a:r>
            <a:r>
              <a:rPr lang="de-DE" dirty="0" err="1"/>
              <a:t>webpages</a:t>
            </a:r>
            <a:endParaRPr lang="de-DE" dirty="0"/>
          </a:p>
        </p:txBody>
      </p:sp>
      <p:pic>
        <p:nvPicPr>
          <p:cNvPr id="9" name="Picture 8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DAEB127C-4353-A069-A4CD-663200C6B31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57440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A78FD047-DAA8-7334-03DC-DC05D2C70B3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99900" y="1921167"/>
            <a:ext cx="5328000" cy="3906435"/>
          </a:xfrm>
        </p:spPr>
        <p:txBody>
          <a:bodyPr anchor="ctr"/>
          <a:lstStyle/>
          <a:p>
            <a:r>
              <a:rPr lang="en-001" dirty="0"/>
              <a:t>EMOS on University of Bergamo website</a:t>
            </a:r>
          </a:p>
          <a:p>
            <a:pPr marL="0" indent="0">
              <a:buNone/>
            </a:pPr>
            <a:r>
              <a:rPr lang="en-US" dirty="0">
                <a:hlinkClick r:id="rId2"/>
              </a:rPr>
              <a:t>https://ls-eda.unibg.it/en/opportunities/emos</a:t>
            </a:r>
            <a:r>
              <a:rPr lang="en-001" dirty="0"/>
              <a:t> 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A834AF-D1B7-1652-30AB-8BDBE6CF46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b">
            <a:normAutofit/>
          </a:bodyPr>
          <a:lstStyle/>
          <a:p>
            <a:r>
              <a:rPr lang="de-DE" dirty="0"/>
              <a:t>EMOS network </a:t>
            </a:r>
            <a:r>
              <a:rPr lang="en-001" dirty="0"/>
              <a:t>partners </a:t>
            </a:r>
            <a:r>
              <a:rPr lang="de-DE" dirty="0" err="1"/>
              <a:t>webpages</a:t>
            </a:r>
            <a:endParaRPr lang="de-DE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B85D3F4-8DCA-E107-DC12-C8DCCF81F76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6573" b="-1118"/>
          <a:stretch/>
        </p:blipFill>
        <p:spPr>
          <a:xfrm>
            <a:off x="1377277" y="1656986"/>
            <a:ext cx="4257646" cy="4919990"/>
          </a:xfrm>
          <a:prstGeom prst="rect">
            <a:avLst/>
          </a:prstGeom>
        </p:spPr>
      </p:pic>
      <p:pic>
        <p:nvPicPr>
          <p:cNvPr id="9" name="Picture 8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DAEB127C-4353-A069-A4CD-663200C6B31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5772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5B00480-03DA-552E-486A-34338C786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490201" cy="3828726"/>
          </a:xfrm>
        </p:spPr>
        <p:txBody>
          <a:bodyPr/>
          <a:lstStyle/>
          <a:p>
            <a:pPr marL="0" indent="0">
              <a:buNone/>
            </a:pPr>
            <a:r>
              <a:rPr lang="en-US" sz="3000" dirty="0"/>
              <a:t>EMOS is currently present on three social media </a:t>
            </a:r>
            <a:r>
              <a:rPr lang="en-001" sz="3000" dirty="0"/>
              <a:t>platforms</a:t>
            </a:r>
            <a:r>
              <a:rPr lang="en-US" sz="3000" dirty="0"/>
              <a:t>:</a:t>
            </a:r>
            <a:endParaRPr lang="en-US" sz="32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 err="1"/>
              <a:t>Social</a:t>
            </a:r>
            <a:r>
              <a:rPr lang="de-DE" dirty="0"/>
              <a:t>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channels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pic>
        <p:nvPicPr>
          <p:cNvPr id="1028" name="Picture 4" descr="X">
            <a:extLst>
              <a:ext uri="{FF2B5EF4-FFF2-40B4-BE49-F238E27FC236}">
                <a16:creationId xmlns:a16="http://schemas.microsoft.com/office/drawing/2014/main" id="{49F7A9CA-7D67-38AE-24F1-5127C6A241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2458" y="4396549"/>
            <a:ext cx="859443" cy="945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you tube">
            <a:extLst>
              <a:ext uri="{FF2B5EF4-FFF2-40B4-BE49-F238E27FC236}">
                <a16:creationId xmlns:a16="http://schemas.microsoft.com/office/drawing/2014/main" id="{DB427F33-869F-9092-6F18-0FDBDB0CA6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5888" y="3554285"/>
            <a:ext cx="652584" cy="754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Linkedin">
            <a:extLst>
              <a:ext uri="{FF2B5EF4-FFF2-40B4-BE49-F238E27FC236}">
                <a16:creationId xmlns:a16="http://schemas.microsoft.com/office/drawing/2014/main" id="{35442CEC-51F5-AD58-35AD-77BF7A65ED4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6204" y="2532310"/>
            <a:ext cx="858459" cy="1021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18E277B7-850C-B5ED-4BC6-EACBD8EA6D0C}"/>
              </a:ext>
            </a:extLst>
          </p:cNvPr>
          <p:cNvSpPr txBox="1">
            <a:spLocks/>
          </p:cNvSpPr>
          <p:nvPr/>
        </p:nvSpPr>
        <p:spPr>
          <a:xfrm>
            <a:off x="2320059" y="2470808"/>
            <a:ext cx="6440374" cy="32950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r>
              <a:rPr lang="en-US" sz="3200" dirty="0"/>
              <a:t>page on </a:t>
            </a:r>
            <a:r>
              <a:rPr lang="en-US" sz="3200" dirty="0">
                <a:hlinkClick r:id="rId6"/>
              </a:rPr>
              <a:t>LinkedIn</a:t>
            </a:r>
            <a:endParaRPr lang="en-IE" sz="3200" dirty="0"/>
          </a:p>
          <a:p>
            <a:pPr marL="0" indent="0">
              <a:lnSpc>
                <a:spcPct val="150000"/>
              </a:lnSpc>
              <a:buNone/>
            </a:pPr>
            <a:r>
              <a:rPr lang="en-US" sz="3200" dirty="0"/>
              <a:t>channel on </a:t>
            </a:r>
            <a:r>
              <a:rPr lang="en-US" sz="3200" dirty="0">
                <a:hlinkClick r:id="rId7"/>
              </a:rPr>
              <a:t>YouTube</a:t>
            </a:r>
            <a:r>
              <a:rPr lang="en-US" sz="3200" dirty="0"/>
              <a:t> 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en-US" sz="3200" dirty="0">
                <a:hlinkClick r:id="rId8"/>
              </a:rPr>
              <a:t>account on X </a:t>
            </a:r>
            <a:r>
              <a:rPr lang="en-US" sz="3200" dirty="0"/>
              <a:t>(Twitter)</a:t>
            </a:r>
          </a:p>
        </p:txBody>
      </p:sp>
    </p:spTree>
    <p:extLst>
      <p:ext uri="{BB962C8B-B14F-4D97-AF65-F5344CB8AC3E}">
        <p14:creationId xmlns:p14="http://schemas.microsoft.com/office/powerpoint/2010/main" val="12720361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/>
              <a:t>LinkedIn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CA58E5D2-D19D-ECE8-2379-EC2CB6A5E3F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751100" y="1446212"/>
            <a:ext cx="3567512" cy="4962682"/>
          </a:xfr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B885515-565D-64FC-9D2F-028966E1A3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75672" y="1521523"/>
            <a:ext cx="3657600" cy="490537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F97F4078-4F48-B791-5DB7-4C74DD242B6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33272" y="1398665"/>
            <a:ext cx="3695700" cy="5057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6834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/>
              <a:t>YouTube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EFF04DE-3D88-F95A-ECB6-DEFFFE1089D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377" r="748"/>
          <a:stretch/>
        </p:blipFill>
        <p:spPr>
          <a:xfrm>
            <a:off x="1315854" y="1530850"/>
            <a:ext cx="9909611" cy="5419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8612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/>
              <a:t>YouTube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C17ABFE-8550-6CC6-85FB-90777BF1A3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475312"/>
            <a:ext cx="12192000" cy="5090237"/>
          </a:xfrm>
          <a:prstGeom prst="rect">
            <a:avLst/>
          </a:prstGeom>
          <a:ln>
            <a:solidFill>
              <a:srgbClr val="FFFFFF"/>
            </a:solidFill>
          </a:ln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439FF674-EAB3-6060-F640-076B1B1D3B47}"/>
              </a:ext>
            </a:extLst>
          </p:cNvPr>
          <p:cNvSpPr/>
          <p:nvPr/>
        </p:nvSpPr>
        <p:spPr>
          <a:xfrm>
            <a:off x="2095928" y="1345915"/>
            <a:ext cx="976045" cy="647272"/>
          </a:xfrm>
          <a:prstGeom prst="round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153011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EEC9D4D-BCD8-6DAB-3101-6BDA96623D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YouTube EMOS </a:t>
            </a:r>
            <a:r>
              <a:rPr lang="de-DE" dirty="0" err="1"/>
              <a:t>promotional</a:t>
            </a:r>
            <a:r>
              <a:rPr lang="de-DE" dirty="0"/>
              <a:t> </a:t>
            </a:r>
            <a:r>
              <a:rPr lang="de-DE" dirty="0" err="1"/>
              <a:t>video</a:t>
            </a:r>
            <a:endParaRPr lang="de-DE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12C933-3630-CB3D-0E32-A51BDCC1D1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851" b="2063"/>
          <a:stretch/>
        </p:blipFill>
        <p:spPr>
          <a:xfrm>
            <a:off x="1191801" y="1874817"/>
            <a:ext cx="4692027" cy="373487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BDC8157-01A4-1B93-3210-5EA1FFD8CA66}"/>
              </a:ext>
            </a:extLst>
          </p:cNvPr>
          <p:cNvSpPr txBox="1"/>
          <p:nvPr/>
        </p:nvSpPr>
        <p:spPr>
          <a:xfrm>
            <a:off x="3493589" y="5503670"/>
            <a:ext cx="638025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>
                <a:hlinkClick r:id="rId3"/>
              </a:rPr>
              <a:t>European Master in Official Statistics - EMOS - YouTub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0393285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 err="1"/>
              <a:t>Social</a:t>
            </a:r>
            <a:r>
              <a:rPr lang="de-DE" dirty="0"/>
              <a:t>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channels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18E277B7-850C-B5ED-4BC6-EACBD8EA6D0C}"/>
              </a:ext>
            </a:extLst>
          </p:cNvPr>
          <p:cNvSpPr txBox="1">
            <a:spLocks/>
          </p:cNvSpPr>
          <p:nvPr/>
        </p:nvSpPr>
        <p:spPr>
          <a:xfrm>
            <a:off x="2320059" y="2470808"/>
            <a:ext cx="6440374" cy="32950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50000"/>
              </a:lnSpc>
              <a:buNone/>
            </a:pPr>
            <a:endParaRPr lang="en-IE" sz="32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72D15F7-3943-34F1-3DB2-1E90391975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49854" y="1879622"/>
            <a:ext cx="4521657" cy="401051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EFA18DDB-6E47-3444-915F-0A44B8526C6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23746" y="1879623"/>
            <a:ext cx="4222483" cy="4010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0221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B1A84E-0850-F9EC-7940-13EB7A55B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b">
            <a:normAutofit/>
          </a:bodyPr>
          <a:lstStyle/>
          <a:p>
            <a:r>
              <a:rPr lang="de-DE" dirty="0" err="1"/>
              <a:t>Social</a:t>
            </a:r>
            <a:r>
              <a:rPr lang="de-DE" dirty="0"/>
              <a:t> </a:t>
            </a:r>
            <a:r>
              <a:rPr lang="de-DE" dirty="0" err="1"/>
              <a:t>media</a:t>
            </a:r>
            <a:r>
              <a:rPr lang="de-DE" dirty="0"/>
              <a:t> </a:t>
            </a:r>
            <a:r>
              <a:rPr lang="de-DE" dirty="0" err="1"/>
              <a:t>channels</a:t>
            </a:r>
            <a:r>
              <a:rPr lang="de-DE" dirty="0"/>
              <a:t> - </a:t>
            </a:r>
            <a:r>
              <a:rPr lang="de-DE" dirty="0" err="1"/>
              <a:t>call</a:t>
            </a:r>
            <a:r>
              <a:rPr lang="de-DE" dirty="0"/>
              <a:t> for </a:t>
            </a:r>
            <a:r>
              <a:rPr lang="de-DE" dirty="0" err="1"/>
              <a:t>action</a:t>
            </a:r>
            <a:r>
              <a:rPr lang="de-DE" dirty="0"/>
              <a:t> </a:t>
            </a:r>
          </a:p>
        </p:txBody>
      </p:sp>
      <p:graphicFrame>
        <p:nvGraphicFramePr>
          <p:cNvPr id="5" name="Content Placeholder 1">
            <a:extLst>
              <a:ext uri="{FF2B5EF4-FFF2-40B4-BE49-F238E27FC236}">
                <a16:creationId xmlns:a16="http://schemas.microsoft.com/office/drawing/2014/main" id="{A5B82E43-5E73-5836-5768-BA1BDC802DE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25934052"/>
              </p:ext>
            </p:extLst>
          </p:nvPr>
        </p:nvGraphicFramePr>
        <p:xfrm>
          <a:off x="838199" y="1825625"/>
          <a:ext cx="10905699" cy="38819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" name="Picture 1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00CF95D-205B-D445-A4D7-A5F144DA2F9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8246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1003937"/>
            <a:ext cx="8324230" cy="4625338"/>
          </a:xfrm>
        </p:spPr>
        <p:txBody>
          <a:bodyPr anchor="b">
            <a:normAutofit/>
          </a:bodyPr>
          <a:lstStyle/>
          <a:p>
            <a:r>
              <a:rPr lang="en-IE" dirty="0"/>
              <a:t>A</a:t>
            </a:r>
            <a:r>
              <a:rPr lang="en-001" dirty="0"/>
              <a:t>genda</a:t>
            </a:r>
            <a:br>
              <a:rPr lang="de-DE" dirty="0"/>
            </a:br>
            <a:br>
              <a:rPr lang="de-DE" dirty="0"/>
            </a:br>
            <a:r>
              <a:rPr lang="de-DE" sz="2800" dirty="0">
                <a:solidFill>
                  <a:schemeClr val="tx1"/>
                </a:solidFill>
                <a:cs typeface="Times New Roman" panose="02020603050405020304" pitchFamily="18" charset="0"/>
              </a:rPr>
              <a:t>1. </a:t>
            </a:r>
            <a:r>
              <a:rPr lang="en-GB" sz="2800" dirty="0">
                <a:solidFill>
                  <a:schemeClr val="tx1"/>
                </a:solidFill>
                <a:cs typeface="Times New Roman" panose="02020603050405020304" pitchFamily="18" charset="0"/>
              </a:rPr>
              <a:t>Introduction</a:t>
            </a:r>
            <a:br>
              <a:rPr lang="en-GB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de-DE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fr-BE" sz="2800" dirty="0" err="1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Existing</a:t>
            </a:r>
            <a:r>
              <a:rPr lang="fr-BE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 EMOS communication channels </a:t>
            </a:r>
            <a:br>
              <a:rPr lang="fr-BE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de-DE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3. </a:t>
            </a:r>
            <a:r>
              <a:rPr lang="en-GB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Ideas for new actions</a:t>
            </a:r>
            <a:br>
              <a:rPr lang="de-DE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br>
              <a:rPr lang="de-DE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4. </a:t>
            </a:r>
            <a:r>
              <a:rPr lang="en-GB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  <a:t>Related news</a:t>
            </a:r>
            <a:br>
              <a:rPr lang="de-DE" sz="2800" dirty="0">
                <a:solidFill>
                  <a:schemeClr val="tx1"/>
                </a:solidFill>
                <a:effectLst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lang="en-IE" sz="2800" dirty="0">
              <a:solidFill>
                <a:schemeClr val="tx1"/>
              </a:solidFill>
            </a:endParaRPr>
          </a:p>
        </p:txBody>
      </p:sp>
      <p:pic>
        <p:nvPicPr>
          <p:cNvPr id="2" name="Picture 1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3BF3003D-E1B7-D064-7028-55069AB592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5357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B305434-F8EE-D0CE-B75F-637F33CB79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Mailing lists used to distribute information and updates:</a:t>
            </a:r>
          </a:p>
          <a:p>
            <a:r>
              <a:rPr lang="en-US" dirty="0"/>
              <a:t>contacts at EMOS-labelled master’s </a:t>
            </a:r>
            <a:r>
              <a:rPr lang="en-US" dirty="0" err="1"/>
              <a:t>programmes</a:t>
            </a:r>
            <a:endParaRPr lang="en-US" dirty="0"/>
          </a:p>
          <a:p>
            <a:r>
              <a:rPr lang="en-US" dirty="0"/>
              <a:t>general EMOS contacts at National Statistical Institutes (NSIs)</a:t>
            </a:r>
          </a:p>
          <a:p>
            <a:r>
              <a:rPr lang="en-US" dirty="0"/>
              <a:t>contacts at NSIs for cross-border traineeships</a:t>
            </a:r>
          </a:p>
          <a:p>
            <a:r>
              <a:rPr lang="en-US" dirty="0"/>
              <a:t>EMOS graduates</a:t>
            </a:r>
          </a:p>
          <a:p>
            <a:r>
              <a:rPr lang="en-US" dirty="0"/>
              <a:t>EMOS Board members</a:t>
            </a:r>
          </a:p>
          <a:p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FB1A84E-0850-F9EC-7940-13EB7A55B1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OS network – mailing lists</a:t>
            </a:r>
            <a:endParaRPr lang="de-DE" dirty="0"/>
          </a:p>
        </p:txBody>
      </p:sp>
      <p:pic>
        <p:nvPicPr>
          <p:cNvPr id="4" name="Picture 3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BB4014C1-8023-D3CF-75F0-CBDD2C964D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65924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B1A84E-0850-F9EC-7940-13EB7A55B1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768614" cy="782357"/>
          </a:xfrm>
        </p:spPr>
        <p:txBody>
          <a:bodyPr anchor="b">
            <a:normAutofit fontScale="90000"/>
          </a:bodyPr>
          <a:lstStyle/>
          <a:p>
            <a:r>
              <a:rPr lang="en-US" dirty="0"/>
              <a:t>EMOS network – mailing lists – call for action </a:t>
            </a:r>
            <a:endParaRPr lang="de-DE" dirty="0"/>
          </a:p>
        </p:txBody>
      </p:sp>
      <p:graphicFrame>
        <p:nvGraphicFramePr>
          <p:cNvPr id="5" name="Content Placeholder 1">
            <a:extLst>
              <a:ext uri="{FF2B5EF4-FFF2-40B4-BE49-F238E27FC236}">
                <a16:creationId xmlns:a16="http://schemas.microsoft.com/office/drawing/2014/main" id="{29FFAB05-30BA-8153-71D1-892839D9AF9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0816212"/>
              </p:ext>
            </p:extLst>
          </p:nvPr>
        </p:nvGraphicFramePr>
        <p:xfrm>
          <a:off x="838199" y="1825625"/>
          <a:ext cx="10905699" cy="38819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" name="Picture 1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D701EF27-7151-5B04-ED15-2CFC1D02476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9155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 err="1"/>
              <a:t>Discussion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9F5D77C-FF7D-7169-E613-69F732F38970}"/>
              </a:ext>
            </a:extLst>
          </p:cNvPr>
          <p:cNvSpPr/>
          <p:nvPr/>
        </p:nvSpPr>
        <p:spPr>
          <a:xfrm>
            <a:off x="781373" y="1510301"/>
            <a:ext cx="10859784" cy="460282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Any examples of good practices you would like to share? What are your main communication channels? </a:t>
            </a:r>
          </a:p>
          <a:p>
            <a:pPr>
              <a:spcAft>
                <a:spcPts val="600"/>
              </a:spcAft>
            </a:pPr>
            <a:endParaRPr lang="en-US" sz="26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How can the EMOS secretariat support your communication efforts?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6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Would you suggest some other means of communication and outreach coordinated centrally by the EMOS secretariat?  </a:t>
            </a:r>
          </a:p>
        </p:txBody>
      </p:sp>
    </p:spTree>
    <p:extLst>
      <p:ext uri="{BB962C8B-B14F-4D97-AF65-F5344CB8AC3E}">
        <p14:creationId xmlns:p14="http://schemas.microsoft.com/office/powerpoint/2010/main" val="25309679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24C52-095B-9225-AF9B-DEFC1B61D2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 b="1" dirty="0">
                <a:solidFill>
                  <a:srgbClr val="2F5496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3.	Ideas for new actions</a:t>
            </a:r>
            <a:endParaRPr lang="de-DE" b="1" dirty="0">
              <a:solidFill>
                <a:srgbClr val="2F5496"/>
              </a:solidFill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8F595C-840C-15FF-E6CA-72AC82AFBA8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39659978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5B00480-03DA-552E-486A-34338C7868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001" sz="2200" dirty="0"/>
              <a:t>Proposal to launch:</a:t>
            </a:r>
            <a:endParaRPr lang="en-US" sz="2200" dirty="0"/>
          </a:p>
          <a:p>
            <a:r>
              <a:rPr lang="en-US" sz="2200" dirty="0"/>
              <a:t>section on </a:t>
            </a:r>
            <a:r>
              <a:rPr lang="en-US" sz="2200" b="1" dirty="0"/>
              <a:t>EMOS students </a:t>
            </a:r>
            <a:r>
              <a:rPr lang="en-US" sz="2200" dirty="0"/>
              <a:t>and EMOS network members on </a:t>
            </a:r>
            <a:r>
              <a:rPr lang="en-001" sz="2200" dirty="0"/>
              <a:t>new </a:t>
            </a:r>
            <a:r>
              <a:rPr lang="en-US" sz="2200" dirty="0"/>
              <a:t>EMOS webpages </a:t>
            </a:r>
          </a:p>
          <a:p>
            <a:r>
              <a:rPr lang="en-US" sz="2200" dirty="0"/>
              <a:t>section dedicated to featuring </a:t>
            </a:r>
            <a:r>
              <a:rPr lang="en-US" sz="2200" b="1" dirty="0"/>
              <a:t>EMOS research projects </a:t>
            </a:r>
            <a:r>
              <a:rPr lang="en-US" sz="2200" dirty="0"/>
              <a:t>on the EMOS webpages </a:t>
            </a:r>
          </a:p>
          <a:p>
            <a:r>
              <a:rPr lang="en-US" sz="2200" dirty="0"/>
              <a:t>creation of </a:t>
            </a:r>
            <a:r>
              <a:rPr lang="en-US" sz="2200" b="1" dirty="0"/>
              <a:t>dedicated groups </a:t>
            </a:r>
            <a:r>
              <a:rPr lang="en-US" sz="2200" dirty="0"/>
              <a:t>linked to the EMOS LinkedIn page</a:t>
            </a:r>
          </a:p>
          <a:p>
            <a:r>
              <a:rPr lang="en-US" sz="2200" b="1" dirty="0"/>
              <a:t>presentations for EMOS network members </a:t>
            </a:r>
            <a:r>
              <a:rPr lang="en-US" sz="2200" dirty="0"/>
              <a:t>by the EMOS secretariat</a:t>
            </a:r>
          </a:p>
          <a:p>
            <a:r>
              <a:rPr lang="en-US" sz="2200" dirty="0"/>
              <a:t>continuation of </a:t>
            </a:r>
            <a:r>
              <a:rPr lang="en-US" sz="2200" b="1" dirty="0"/>
              <a:t>EMOS network meetings</a:t>
            </a:r>
          </a:p>
          <a:p>
            <a:endParaRPr lang="en-IE" sz="32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 err="1"/>
              <a:t>Ideas</a:t>
            </a:r>
            <a:r>
              <a:rPr lang="de-DE" dirty="0"/>
              <a:t> for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actions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9605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5B00480-03DA-552E-486A-34338C786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6315076" cy="1851025"/>
          </a:xfrm>
        </p:spPr>
        <p:txBody>
          <a:bodyPr/>
          <a:lstStyle/>
          <a:p>
            <a:r>
              <a:rPr lang="en-US" sz="2200" dirty="0"/>
              <a:t>‘</a:t>
            </a:r>
            <a:r>
              <a:rPr lang="en-US" sz="2200" b="1" dirty="0"/>
              <a:t>Meet EMOS students</a:t>
            </a:r>
            <a:r>
              <a:rPr lang="en-US" sz="2200" dirty="0"/>
              <a:t>’ section on the EMOS webpages </a:t>
            </a:r>
            <a:endParaRPr lang="en-001" sz="2200" dirty="0"/>
          </a:p>
          <a:p>
            <a:r>
              <a:rPr lang="en-US" sz="2200" dirty="0"/>
              <a:t>testimonials prepared at past even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en-US" dirty="0"/>
              <a:t>	</a:t>
            </a:r>
            <a:br>
              <a:rPr lang="en-US" dirty="0"/>
            </a:br>
            <a:r>
              <a:rPr lang="en-US" dirty="0"/>
              <a:t>Section on EMOS students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F14B7B1-0533-A20F-5C4C-1EDFE7E45B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1" r="2103" b="46919"/>
          <a:stretch/>
        </p:blipFill>
        <p:spPr>
          <a:xfrm>
            <a:off x="1858839" y="3582533"/>
            <a:ext cx="3841750" cy="21437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C8A0617-7CBA-19C6-309B-5C080B785F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40699" y="1721124"/>
            <a:ext cx="4507100" cy="39110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61707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5B00480-03DA-552E-486A-34338C786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9901136" cy="3881904"/>
          </a:xfrm>
        </p:spPr>
        <p:txBody>
          <a:bodyPr/>
          <a:lstStyle/>
          <a:p>
            <a:r>
              <a:rPr lang="en-001" sz="2200" dirty="0"/>
              <a:t>Proposal: launch </a:t>
            </a:r>
            <a:r>
              <a:rPr lang="en-US" sz="2200" dirty="0"/>
              <a:t>a section ‘</a:t>
            </a:r>
            <a:r>
              <a:rPr lang="en-US" sz="2200" b="1" dirty="0"/>
              <a:t>Meet the EMOS network</a:t>
            </a:r>
            <a:r>
              <a:rPr lang="en-US" sz="2200" dirty="0"/>
              <a:t>’ to feature representatives of </a:t>
            </a:r>
            <a:r>
              <a:rPr lang="en-US" sz="2200" dirty="0" err="1"/>
              <a:t>organisations</a:t>
            </a:r>
            <a:r>
              <a:rPr lang="en-US" sz="2200" dirty="0"/>
              <a:t> that are part of the EMOS network and the EMOS Board members</a:t>
            </a:r>
            <a:endParaRPr lang="en-IE" sz="22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en-US" dirty="0"/>
              <a:t>	</a:t>
            </a:r>
            <a:br>
              <a:rPr lang="en-US" dirty="0"/>
            </a:br>
            <a:r>
              <a:rPr lang="en-US" dirty="0"/>
              <a:t>Section on EMOS network members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01802059-2FDC-4A7F-021D-2F08829F23FA}"/>
              </a:ext>
            </a:extLst>
          </p:cNvPr>
          <p:cNvSpPr txBox="1">
            <a:spLocks/>
          </p:cNvSpPr>
          <p:nvPr/>
        </p:nvSpPr>
        <p:spPr>
          <a:xfrm>
            <a:off x="970722" y="3308278"/>
            <a:ext cx="10905699" cy="35497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2200" b="1"/>
              <a:t>Role of EMOS network members: </a:t>
            </a:r>
            <a:endParaRPr lang="en-US" sz="2200" b="1" dirty="0"/>
          </a:p>
        </p:txBody>
      </p:sp>
      <p:graphicFrame>
        <p:nvGraphicFramePr>
          <p:cNvPr id="6" name="Content Placeholder 1">
            <a:extLst>
              <a:ext uri="{FF2B5EF4-FFF2-40B4-BE49-F238E27FC236}">
                <a16:creationId xmlns:a16="http://schemas.microsoft.com/office/drawing/2014/main" id="{29943093-9795-3486-4D41-175217ABB37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7149407"/>
              </p:ext>
            </p:extLst>
          </p:nvPr>
        </p:nvGraphicFramePr>
        <p:xfrm>
          <a:off x="735457" y="3143892"/>
          <a:ext cx="10740777" cy="35651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09137468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0E22ECE-D053-706A-3A01-30ABE70320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001" dirty="0"/>
              <a:t>Proposal: to </a:t>
            </a:r>
            <a:r>
              <a:rPr lang="en-US" dirty="0"/>
              <a:t>prepare a dedicated section to share the recent research work of EMOS network partners in the field of official statistic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Role of EMOS network members: </a:t>
            </a:r>
          </a:p>
          <a:p>
            <a:pPr marL="0" indent="0">
              <a:buNone/>
            </a:pPr>
            <a:r>
              <a:rPr lang="en-US" dirty="0"/>
              <a:t> 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C6A1AB-7038-1461-3E0D-3D535C5A3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OS research projects section on the EMOS webpages </a:t>
            </a:r>
            <a:endParaRPr lang="de-DE" dirty="0"/>
          </a:p>
        </p:txBody>
      </p:sp>
      <p:graphicFrame>
        <p:nvGraphicFramePr>
          <p:cNvPr id="6" name="Content Placeholder 1">
            <a:extLst>
              <a:ext uri="{FF2B5EF4-FFF2-40B4-BE49-F238E27FC236}">
                <a16:creationId xmlns:a16="http://schemas.microsoft.com/office/drawing/2014/main" id="{A309D5FA-1BAF-B66E-B1D8-FB59BC12CF3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5833996"/>
              </p:ext>
            </p:extLst>
          </p:nvPr>
        </p:nvGraphicFramePr>
        <p:xfrm>
          <a:off x="838200" y="3429001"/>
          <a:ext cx="10829926" cy="29461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3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19199ED2-E092-EEFA-EA62-03A7B487CA9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1211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0E22ECE-D053-706A-3A01-30ABE703209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8" y="1825625"/>
            <a:ext cx="5328000" cy="3906435"/>
          </a:xfrm>
        </p:spPr>
        <p:txBody>
          <a:bodyPr anchor="ctr">
            <a:normAutofit/>
          </a:bodyPr>
          <a:lstStyle/>
          <a:p>
            <a:pPr marL="0" indent="0">
              <a:buNone/>
            </a:pPr>
            <a:r>
              <a:rPr lang="en-001" dirty="0"/>
              <a:t>Proposal: </a:t>
            </a:r>
            <a:r>
              <a:rPr lang="en-US" dirty="0"/>
              <a:t>further promote and engage via the EMOS LinkedIn page by creating </a:t>
            </a:r>
            <a:r>
              <a:rPr lang="en-001" dirty="0"/>
              <a:t>dedicated</a:t>
            </a:r>
            <a:r>
              <a:rPr lang="en-US" dirty="0"/>
              <a:t> LinkedIn pages: </a:t>
            </a:r>
            <a:endParaRPr lang="en-001" dirty="0"/>
          </a:p>
          <a:p>
            <a:pPr marL="0" indent="0">
              <a:buNone/>
            </a:pPr>
            <a:endParaRPr lang="en-001" dirty="0"/>
          </a:p>
          <a:p>
            <a:r>
              <a:rPr lang="en-US" b="1" dirty="0"/>
              <a:t>‘EMOS Alumni’ </a:t>
            </a:r>
            <a:endParaRPr lang="en-001" b="1" dirty="0"/>
          </a:p>
          <a:p>
            <a:endParaRPr lang="en-001" dirty="0"/>
          </a:p>
          <a:p>
            <a:r>
              <a:rPr lang="en-001" b="1" dirty="0"/>
              <a:t>‘</a:t>
            </a:r>
            <a:r>
              <a:rPr lang="en-US" b="1" dirty="0"/>
              <a:t>Vacancies in official statistics’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5FA805-7992-250B-6DF8-9B827F4051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98273" y="1825625"/>
            <a:ext cx="3935954" cy="3906435"/>
          </a:xfrm>
          <a:prstGeom prst="rect">
            <a:avLst/>
          </a:prstGeom>
          <a:noFill/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BC6A1AB-7038-1461-3E0D-3D535C5A3F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b">
            <a:noAutofit/>
          </a:bodyPr>
          <a:lstStyle/>
          <a:p>
            <a:r>
              <a:rPr lang="en-US" dirty="0"/>
              <a:t>Creation of dedicated groups linked to the EMOS LinkedIn page</a:t>
            </a:r>
            <a:endParaRPr lang="de-DE" dirty="0"/>
          </a:p>
        </p:txBody>
      </p:sp>
      <p:pic>
        <p:nvPicPr>
          <p:cNvPr id="4" name="Picture 3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63D159BD-38E5-E155-4A60-F1B98C8B35C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775461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0E22ECE-D053-706A-3A01-30ABE70320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b="1" dirty="0"/>
              <a:t>Role of EMOS network members: </a:t>
            </a:r>
          </a:p>
          <a:p>
            <a:pPr marL="0" indent="0">
              <a:buNone/>
            </a:pPr>
            <a:r>
              <a:rPr lang="en-US" dirty="0"/>
              <a:t> 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C6A1AB-7038-1461-3E0D-3D535C5A3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reation of dedicated groups linked to the EMOS LinkedIn page</a:t>
            </a:r>
            <a:endParaRPr lang="de-DE" dirty="0"/>
          </a:p>
        </p:txBody>
      </p:sp>
      <p:graphicFrame>
        <p:nvGraphicFramePr>
          <p:cNvPr id="4" name="Content Placeholder 1">
            <a:extLst>
              <a:ext uri="{FF2B5EF4-FFF2-40B4-BE49-F238E27FC236}">
                <a16:creationId xmlns:a16="http://schemas.microsoft.com/office/drawing/2014/main" id="{F830C2A8-03A4-1E2E-025C-5CB1E7CC0ED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01308874"/>
              </p:ext>
            </p:extLst>
          </p:nvPr>
        </p:nvGraphicFramePr>
        <p:xfrm>
          <a:off x="813559" y="2293507"/>
          <a:ext cx="10829926" cy="29461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0B35BC25-656A-305D-3800-0B838E1A4E50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1592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24C52-095B-9225-AF9B-DEFC1B61D2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marL="457200" indent="-457200">
              <a:buAutoNum type="arabicPeriod"/>
            </a:pPr>
            <a:r>
              <a:rPr lang="en-GB" sz="6000" b="1" dirty="0">
                <a:solidFill>
                  <a:srgbClr val="2F5496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ntrodu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8F595C-840C-15FF-E6CA-72AC82AFBA8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8768886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0E22ECE-D053-706A-3A01-30ABE70320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001" dirty="0"/>
              <a:t>Offer: presentation by EMOS secretariat for </a:t>
            </a:r>
            <a:r>
              <a:rPr lang="en-US" dirty="0"/>
              <a:t>all EMOS-labelled master’s </a:t>
            </a:r>
            <a:r>
              <a:rPr lang="en-US" dirty="0" err="1"/>
              <a:t>programmes</a:t>
            </a:r>
            <a:r>
              <a:rPr lang="en-US" dirty="0"/>
              <a:t> and partner </a:t>
            </a:r>
            <a:r>
              <a:rPr lang="en-US" dirty="0" err="1"/>
              <a:t>organisations</a:t>
            </a:r>
            <a:r>
              <a:rPr lang="en-US" dirty="0"/>
              <a:t> who teach courses to EMOS students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r>
              <a:rPr lang="en-US" b="1" dirty="0"/>
              <a:t>Role of EMOS network members: </a:t>
            </a:r>
          </a:p>
          <a:p>
            <a:pPr marL="0" indent="0">
              <a:buNone/>
            </a:pPr>
            <a:r>
              <a:rPr lang="en-US" dirty="0"/>
              <a:t> 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C6A1AB-7038-1461-3E0D-3D535C5A3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OS presentations for EMOS network members by the EMOS secretariat</a:t>
            </a:r>
            <a:endParaRPr lang="de-DE" dirty="0"/>
          </a:p>
        </p:txBody>
      </p:sp>
      <p:graphicFrame>
        <p:nvGraphicFramePr>
          <p:cNvPr id="5" name="Content Placeholder 1">
            <a:extLst>
              <a:ext uri="{FF2B5EF4-FFF2-40B4-BE49-F238E27FC236}">
                <a16:creationId xmlns:a16="http://schemas.microsoft.com/office/drawing/2014/main" id="{8A54109B-2669-02CB-991C-8C4BA260390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61467853"/>
              </p:ext>
            </p:extLst>
          </p:nvPr>
        </p:nvGraphicFramePr>
        <p:xfrm>
          <a:off x="838199" y="3495676"/>
          <a:ext cx="10829926" cy="29461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3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1D82A053-E043-1F98-4FC7-3F8DF2CF0EA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8308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 err="1"/>
              <a:t>Overview</a:t>
            </a:r>
            <a:r>
              <a:rPr lang="de-DE" dirty="0"/>
              <a:t> of </a:t>
            </a:r>
            <a:r>
              <a:rPr lang="de-DE" dirty="0" err="1"/>
              <a:t>proposals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9F5D77C-FF7D-7169-E613-69F732F38970}"/>
              </a:ext>
            </a:extLst>
          </p:cNvPr>
          <p:cNvSpPr/>
          <p:nvPr/>
        </p:nvSpPr>
        <p:spPr>
          <a:xfrm>
            <a:off x="781373" y="1510301"/>
            <a:ext cx="10859784" cy="447953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Meet EMOS students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Meet the EMOS network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EMOS Research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6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EMOS LinkedIn ‘EMOS Alumni’, ‘Vacancies in official statistics’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6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presentation about EMOS by the EMOS secretariat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4076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 err="1"/>
              <a:t>Discussion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9F5D77C-FF7D-7169-E613-69F732F38970}"/>
              </a:ext>
            </a:extLst>
          </p:cNvPr>
          <p:cNvSpPr/>
          <p:nvPr/>
        </p:nvSpPr>
        <p:spPr>
          <a:xfrm>
            <a:off x="781373" y="1510301"/>
            <a:ext cx="10859784" cy="447953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Would you be willing to be featured in the section </a:t>
            </a:r>
            <a:r>
              <a:rPr lang="en-001" sz="2600" dirty="0">
                <a:solidFill>
                  <a:schemeClr val="tx1"/>
                </a:solidFill>
              </a:rPr>
              <a:t>‘</a:t>
            </a:r>
            <a:r>
              <a:rPr lang="en-US" sz="2600" dirty="0">
                <a:solidFill>
                  <a:schemeClr val="tx1"/>
                </a:solidFill>
              </a:rPr>
              <a:t>Meet EMOS network members</a:t>
            </a:r>
            <a:r>
              <a:rPr lang="en-001" sz="2600" dirty="0">
                <a:solidFill>
                  <a:schemeClr val="tx1"/>
                </a:solidFill>
              </a:rPr>
              <a:t>’</a:t>
            </a:r>
            <a:r>
              <a:rPr lang="en-US" sz="2600" dirty="0">
                <a:solidFill>
                  <a:schemeClr val="tx1"/>
                </a:solidFill>
              </a:rPr>
              <a:t>?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6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What is your opinion about the collection of research articles on the website? Would you be willing to contribute? </a:t>
            </a:r>
          </a:p>
          <a:p>
            <a:pPr>
              <a:spcAft>
                <a:spcPts val="600"/>
              </a:spcAft>
            </a:pPr>
            <a:endParaRPr lang="en-US" sz="26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Would the presentation from the EMOS Secretariat about EMOS be interesting for your students?</a:t>
            </a:r>
          </a:p>
        </p:txBody>
      </p:sp>
    </p:spTree>
    <p:extLst>
      <p:ext uri="{BB962C8B-B14F-4D97-AF65-F5344CB8AC3E}">
        <p14:creationId xmlns:p14="http://schemas.microsoft.com/office/powerpoint/2010/main" val="372713062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0E22ECE-D053-706A-3A01-30ABE70320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4213668"/>
          </a:xfrm>
        </p:spPr>
        <p:txBody>
          <a:bodyPr/>
          <a:lstStyle/>
          <a:p>
            <a:pPr marL="0" indent="0">
              <a:buNone/>
            </a:pPr>
            <a:r>
              <a:rPr lang="en-US" dirty="0"/>
              <a:t>To share and discuss best practices among EMOS network members:</a:t>
            </a:r>
          </a:p>
          <a:p>
            <a:r>
              <a:rPr lang="en-US" dirty="0"/>
              <a:t>Sharing coursework among EMOS partners (</a:t>
            </a:r>
            <a:r>
              <a:rPr lang="en-US" dirty="0">
                <a:hlinkClick r:id="rId2"/>
              </a:rPr>
              <a:t>video</a:t>
            </a:r>
            <a:r>
              <a:rPr lang="en-US" dirty="0"/>
              <a:t>)</a:t>
            </a:r>
          </a:p>
          <a:p>
            <a:r>
              <a:rPr lang="en-US" dirty="0"/>
              <a:t>EMOS students’ exchanges (</a:t>
            </a:r>
            <a:r>
              <a:rPr lang="en-US" dirty="0">
                <a:hlinkClick r:id="rId3"/>
              </a:rPr>
              <a:t>video</a:t>
            </a:r>
            <a:r>
              <a:rPr lang="en-US" dirty="0"/>
              <a:t>)</a:t>
            </a:r>
          </a:p>
          <a:p>
            <a:r>
              <a:rPr lang="en-US" dirty="0"/>
              <a:t>Redesigning EMOS-labelled master’s </a:t>
            </a:r>
            <a:r>
              <a:rPr lang="en-US" dirty="0" err="1"/>
              <a:t>programmes</a:t>
            </a:r>
            <a:r>
              <a:rPr lang="en-US" dirty="0"/>
              <a:t> (</a:t>
            </a:r>
            <a:r>
              <a:rPr lang="en-US" dirty="0">
                <a:hlinkClick r:id="rId4"/>
              </a:rPr>
              <a:t>video</a:t>
            </a:r>
            <a:r>
              <a:rPr lang="en-US" dirty="0"/>
              <a:t>)</a:t>
            </a:r>
          </a:p>
          <a:p>
            <a:r>
              <a:rPr lang="en-US" i="0" dirty="0">
                <a:effectLst/>
              </a:rPr>
              <a:t>Research and thesis project collaborations with </a:t>
            </a:r>
            <a:r>
              <a:rPr lang="en-US" i="0" dirty="0" err="1">
                <a:effectLst/>
              </a:rPr>
              <a:t>organisations</a:t>
            </a:r>
            <a:r>
              <a:rPr lang="en-US" i="0" dirty="0">
                <a:effectLst/>
              </a:rPr>
              <a:t> other than NSIs (</a:t>
            </a:r>
            <a:r>
              <a:rPr lang="en-US" i="0" dirty="0">
                <a:effectLst/>
                <a:hlinkClick r:id="rId5"/>
              </a:rPr>
              <a:t>video</a:t>
            </a:r>
            <a:r>
              <a:rPr lang="en-US" i="0" dirty="0">
                <a:effectLst/>
              </a:rPr>
              <a:t>)</a:t>
            </a:r>
          </a:p>
          <a:p>
            <a:pPr marL="0" indent="0">
              <a:buNone/>
            </a:pPr>
            <a:br>
              <a:rPr lang="en-US" dirty="0"/>
            </a:b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C6A1AB-7038-1461-3E0D-3D535C5A3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OS network meetings 2023/2024</a:t>
            </a:r>
            <a:endParaRPr lang="de-DE" dirty="0"/>
          </a:p>
        </p:txBody>
      </p:sp>
      <p:pic>
        <p:nvPicPr>
          <p:cNvPr id="4" name="Picture 3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0675ED90-3CB3-C98A-20DA-B82DE27C1604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09986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D0E22ECE-D053-706A-3A01-30ABE70320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199" y="1825625"/>
            <a:ext cx="10905699" cy="4213668"/>
          </a:xfrm>
        </p:spPr>
        <p:txBody>
          <a:bodyPr/>
          <a:lstStyle/>
          <a:p>
            <a:r>
              <a:rPr lang="en-US" dirty="0"/>
              <a:t>3 Apr 2024: NSIs supporting EMOS (</a:t>
            </a:r>
            <a:r>
              <a:rPr lang="en-US" dirty="0">
                <a:hlinkClick r:id="rId2"/>
              </a:rPr>
              <a:t>register here</a:t>
            </a:r>
            <a:r>
              <a:rPr lang="en-US" dirty="0"/>
              <a:t>)</a:t>
            </a:r>
          </a:p>
          <a:p>
            <a:r>
              <a:rPr lang="en-US" dirty="0"/>
              <a:t>24 April 2024: Information session on the Joint Research Centre (JRC) scientific traineeships </a:t>
            </a:r>
            <a:r>
              <a:rPr lang="en-US" dirty="0" err="1"/>
              <a:t>programme</a:t>
            </a:r>
            <a:r>
              <a:rPr lang="en-US" dirty="0"/>
              <a:t>  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dirty="0"/>
              <a:t>24 May 2024: </a:t>
            </a:r>
            <a:r>
              <a:rPr lang="en-GB" dirty="0"/>
              <a:t>DG EAC on Staff Exchange and</a:t>
            </a:r>
            <a:r>
              <a:rPr lang="de-DE" dirty="0"/>
              <a:t> </a:t>
            </a:r>
            <a:r>
              <a:rPr lang="en-GB" dirty="0"/>
              <a:t>Doctoral Networks</a:t>
            </a:r>
            <a:br>
              <a:rPr lang="en-US" dirty="0"/>
            </a:br>
            <a:endParaRPr lang="en-US" dirty="0"/>
          </a:p>
          <a:p>
            <a:pPr marL="0" indent="0">
              <a:buNone/>
            </a:pPr>
            <a:r>
              <a:rPr lang="en-US" dirty="0"/>
              <a:t> </a:t>
            </a:r>
            <a:endParaRPr lang="de-D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BC6A1AB-7038-1461-3E0D-3D535C5A3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OS network meetings - upcoming</a:t>
            </a:r>
            <a:endParaRPr lang="de-DE" dirty="0"/>
          </a:p>
        </p:txBody>
      </p:sp>
      <p:pic>
        <p:nvPicPr>
          <p:cNvPr id="4" name="Picture 3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0675ED90-3CB3-C98A-20DA-B82DE27C160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569750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BC6A1AB-7038-1461-3E0D-3D535C5A3F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MOS network meetings - discussion</a:t>
            </a:r>
            <a:endParaRPr lang="de-DE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071EEBA-D45A-74AD-3481-228EC6D3501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F5822CC6-DFCF-34CF-DB7D-BB4F314FF4B0}"/>
              </a:ext>
            </a:extLst>
          </p:cNvPr>
          <p:cNvSpPr/>
          <p:nvPr/>
        </p:nvSpPr>
        <p:spPr>
          <a:xfrm>
            <a:off x="781373" y="1510301"/>
            <a:ext cx="10859784" cy="447953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Have you participated so far and do you plan on participating in the future?</a:t>
            </a:r>
          </a:p>
          <a:p>
            <a:pPr>
              <a:spcAft>
                <a:spcPts val="600"/>
              </a:spcAft>
            </a:pPr>
            <a:endParaRPr lang="en-US" sz="26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Do you find EMOS network meetings useful? </a:t>
            </a:r>
          </a:p>
          <a:p>
            <a:pPr>
              <a:spcAft>
                <a:spcPts val="600"/>
              </a:spcAft>
            </a:pPr>
            <a:endParaRPr lang="en-US" sz="26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What are possible topics? </a:t>
            </a:r>
          </a:p>
          <a:p>
            <a:pPr>
              <a:spcAft>
                <a:spcPts val="600"/>
              </a:spcAft>
            </a:pPr>
            <a:endParaRPr lang="en-US" sz="2600" dirty="0">
              <a:solidFill>
                <a:schemeClr val="tx1"/>
              </a:solidFill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600" dirty="0">
                <a:solidFill>
                  <a:schemeClr val="tx1"/>
                </a:solidFill>
              </a:rPr>
              <a:t>How and when would you like to be informed about the meetings? </a:t>
            </a:r>
          </a:p>
        </p:txBody>
      </p:sp>
      <p:pic>
        <p:nvPicPr>
          <p:cNvPr id="2" name="Picture 1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EF3937D9-07EE-E0A2-1448-7B20D67E15A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64111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24C52-095B-9225-AF9B-DEFC1B61D2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001" dirty="0">
                <a:latin typeface="Calibri" panose="020F0502020204030204" pitchFamily="34" charset="0"/>
                <a:cs typeface="Calibri" panose="020F0502020204030204" pitchFamily="34" charset="0"/>
              </a:rPr>
              <a:t>4.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Related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news</a:t>
            </a:r>
            <a:endParaRPr lang="en-I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D3CAFE9-7C8D-A284-BAAA-A0D30FB8F8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57114237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5B00480-03DA-552E-486A-34338C7868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EMOS Coding lab 2024</a:t>
            </a:r>
          </a:p>
          <a:p>
            <a:r>
              <a:rPr lang="de-DE" dirty="0"/>
              <a:t>Master Thesis </a:t>
            </a:r>
            <a:r>
              <a:rPr lang="de-DE" dirty="0" err="1"/>
              <a:t>competition</a:t>
            </a:r>
            <a:r>
              <a:rPr lang="de-DE" dirty="0"/>
              <a:t> (open </a:t>
            </a:r>
            <a:r>
              <a:rPr lang="de-DE" dirty="0" err="1"/>
              <a:t>call</a:t>
            </a:r>
            <a:r>
              <a:rPr lang="de-DE" dirty="0"/>
              <a:t> September 2024)</a:t>
            </a:r>
          </a:p>
          <a:p>
            <a:endParaRPr lang="de-DE" dirty="0"/>
          </a:p>
          <a:p>
            <a:r>
              <a:rPr lang="en-001" dirty="0"/>
              <a:t>Next </a:t>
            </a:r>
            <a:r>
              <a:rPr lang="de-DE" dirty="0"/>
              <a:t>EMOS </a:t>
            </a:r>
            <a:r>
              <a:rPr lang="de-DE" dirty="0" err="1"/>
              <a:t>workshop</a:t>
            </a:r>
            <a:r>
              <a:rPr lang="en-001" dirty="0"/>
              <a:t>: </a:t>
            </a:r>
            <a:r>
              <a:rPr lang="de-DE" dirty="0"/>
              <a:t>14-15 November 2024 in Wiesbaden</a:t>
            </a:r>
          </a:p>
          <a:p>
            <a:r>
              <a:rPr lang="de-DE" dirty="0"/>
              <a:t>Next New </a:t>
            </a:r>
            <a:r>
              <a:rPr lang="de-DE" dirty="0" err="1"/>
              <a:t>Techniques</a:t>
            </a:r>
            <a:r>
              <a:rPr lang="de-DE" dirty="0"/>
              <a:t> and Technologies for Statistics (NTTS </a:t>
            </a:r>
            <a:r>
              <a:rPr lang="de-DE" dirty="0" err="1"/>
              <a:t>conference</a:t>
            </a:r>
            <a:r>
              <a:rPr lang="de-DE" dirty="0"/>
              <a:t>) 11-13 March 2025</a:t>
            </a:r>
            <a:endParaRPr lang="en-IE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/>
              <a:t>Information on </a:t>
            </a:r>
            <a:r>
              <a:rPr lang="de-DE" dirty="0" err="1"/>
              <a:t>ongoing</a:t>
            </a:r>
            <a:r>
              <a:rPr lang="de-DE" dirty="0"/>
              <a:t>/</a:t>
            </a:r>
            <a:r>
              <a:rPr lang="de-DE" dirty="0" err="1"/>
              <a:t>upcoming</a:t>
            </a:r>
            <a:r>
              <a:rPr lang="de-DE" dirty="0"/>
              <a:t> </a:t>
            </a:r>
            <a:r>
              <a:rPr lang="de-DE" dirty="0" err="1"/>
              <a:t>events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0468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24C52-095B-9225-AF9B-DEFC1B61D2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Any </a:t>
            </a: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questions</a:t>
            </a:r>
            <a:r>
              <a:rPr lang="de-DE" dirty="0"/>
              <a:t>?</a:t>
            </a:r>
            <a:endParaRPr lang="en-IE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6D3CAFE9-7C8D-A284-BAAA-A0D30FB8F85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22795902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001" b="1" kern="0" dirty="0"/>
              <a:t>Thank you!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822" y="3538847"/>
            <a:ext cx="11887200" cy="2948217"/>
          </a:xfrm>
        </p:spPr>
        <p:txBody>
          <a:bodyPr/>
          <a:lstStyle/>
          <a:p>
            <a:r>
              <a:rPr lang="hr-HR" sz="3400" kern="0" dirty="0" err="1"/>
              <a:t>Keep</a:t>
            </a:r>
            <a:r>
              <a:rPr lang="hr-HR" sz="3400" kern="0" dirty="0"/>
              <a:t> in </a:t>
            </a:r>
            <a:r>
              <a:rPr lang="hr-HR" sz="3400" kern="0" dirty="0" err="1"/>
              <a:t>touch</a:t>
            </a:r>
            <a:r>
              <a:rPr lang="hr-HR" sz="3400" kern="0" dirty="0"/>
              <a:t>:</a:t>
            </a:r>
          </a:p>
          <a:p>
            <a:endParaRPr lang="hr-HR" kern="0" dirty="0"/>
          </a:p>
          <a:p>
            <a:endParaRPr lang="hr-HR" kern="0" dirty="0"/>
          </a:p>
          <a:p>
            <a:endParaRPr lang="hr-HR" kern="0" dirty="0"/>
          </a:p>
          <a:p>
            <a:r>
              <a:rPr lang="hr-HR" kern="0" dirty="0"/>
              <a:t>							 	</a:t>
            </a:r>
            <a:r>
              <a:rPr lang="en-001" kern="0" dirty="0"/>
              <a:t>	</a:t>
            </a:r>
            <a:r>
              <a:rPr lang="hr-HR" sz="1800" kern="0" dirty="0">
                <a:hlinkClick r:id="rId3"/>
              </a:rPr>
              <a:t>ESTAT-EMOS@ec.europa.eu</a:t>
            </a:r>
            <a:r>
              <a:rPr lang="hr-HR" sz="1800" kern="0" dirty="0"/>
              <a:t> </a:t>
            </a:r>
          </a:p>
          <a:p>
            <a:r>
              <a:rPr lang="hr-HR" kern="0" dirty="0"/>
              <a:t>			  </a:t>
            </a:r>
          </a:p>
          <a:p>
            <a:r>
              <a:rPr lang="hr-HR" kern="0" dirty="0"/>
              <a:t>     </a:t>
            </a:r>
            <a:r>
              <a:rPr lang="en-GB" kern="0" dirty="0"/>
              <a:t>@EU_EMOS</a:t>
            </a:r>
            <a:r>
              <a:rPr lang="en-001" kern="0" dirty="0"/>
              <a:t>	 </a:t>
            </a:r>
            <a:r>
              <a:rPr lang="hr-HR" kern="0" dirty="0"/>
              <a:t>@europeanmasterinofficialst492</a:t>
            </a:r>
            <a:r>
              <a:rPr lang="en-001" kern="0" dirty="0"/>
              <a:t> 	   </a:t>
            </a:r>
            <a:r>
              <a:rPr lang="en-US" dirty="0">
                <a:hlinkClick r:id="rId4"/>
              </a:rPr>
              <a:t>www.linkedin.com/company/theemos</a:t>
            </a:r>
            <a:endParaRPr lang="hr-HR" kern="0" dirty="0"/>
          </a:p>
          <a:p>
            <a:endParaRPr lang="hr-HR" kern="0" dirty="0"/>
          </a:p>
          <a:p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9496" y="4563372"/>
            <a:ext cx="2098326" cy="89916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808" t="22515" r="10310" b="23288"/>
          <a:stretch/>
        </p:blipFill>
        <p:spPr>
          <a:xfrm>
            <a:off x="9568242" y="293451"/>
            <a:ext cx="2045825" cy="1657823"/>
          </a:xfrm>
          <a:prstGeom prst="rect">
            <a:avLst/>
          </a:prstGeom>
        </p:spPr>
      </p:pic>
      <p:pic>
        <p:nvPicPr>
          <p:cNvPr id="8" name="Picture 7" descr="A blue and black logo&#10;&#10;Description automatically generated">
            <a:extLst>
              <a:ext uri="{FF2B5EF4-FFF2-40B4-BE49-F238E27FC236}">
                <a16:creationId xmlns:a16="http://schemas.microsoft.com/office/drawing/2014/main" id="{CE94BE79-D440-5383-1EC6-927F1B667899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57" b="26752"/>
          <a:stretch/>
        </p:blipFill>
        <p:spPr>
          <a:xfrm>
            <a:off x="5573485" y="4798405"/>
            <a:ext cx="1626830" cy="429099"/>
          </a:xfrm>
          <a:prstGeom prst="rect">
            <a:avLst/>
          </a:prstGeom>
        </p:spPr>
      </p:pic>
      <p:pic>
        <p:nvPicPr>
          <p:cNvPr id="1026" name="Picture 2" descr="Twitter X Logo PNG vector in SVG, PDF, AI, CDR format">
            <a:extLst>
              <a:ext uri="{FF2B5EF4-FFF2-40B4-BE49-F238E27FC236}">
                <a16:creationId xmlns:a16="http://schemas.microsoft.com/office/drawing/2014/main" id="{F2FDA643-4187-1E37-87CC-7D4376A19DC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515" y="4330060"/>
            <a:ext cx="1451149" cy="1365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990398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5B00480-03DA-552E-486A-34338C7868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MOS network (33 university master’s </a:t>
            </a:r>
            <a:r>
              <a:rPr lang="en-US" dirty="0" err="1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rogrammes</a:t>
            </a:r>
            <a:r>
              <a:rPr lang="en-US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and partner </a:t>
            </a:r>
            <a:r>
              <a:rPr lang="en-US" dirty="0" err="1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rganisations</a:t>
            </a:r>
            <a:r>
              <a:rPr lang="en-US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) in 17 European countries</a:t>
            </a:r>
          </a:p>
          <a:p>
            <a:r>
              <a:rPr lang="de-DE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</a:t>
            </a:r>
            <a:r>
              <a:rPr lang="en-US" dirty="0" err="1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ffective</a:t>
            </a:r>
            <a:r>
              <a:rPr lang="en-US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communication, engagement and cooperation key to the success of EMOS</a:t>
            </a:r>
            <a:endParaRPr lang="en-001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1"/>
            <a:r>
              <a:rPr lang="en-001" sz="2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EMOS brand visibility and reputation</a:t>
            </a:r>
          </a:p>
          <a:p>
            <a:pPr lvl="1"/>
            <a:r>
              <a:rPr lang="en-001" sz="2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ttractiveness and benefits of EMOS</a:t>
            </a:r>
          </a:p>
          <a:p>
            <a:pPr lvl="1"/>
            <a:r>
              <a:rPr lang="en-001" sz="2400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nformation on activities and events</a:t>
            </a:r>
            <a:endParaRPr lang="en-US" sz="2400" dirty="0"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 err="1"/>
              <a:t>Introduction</a:t>
            </a:r>
            <a:r>
              <a:rPr lang="de-DE"/>
              <a:t> 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7482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424C52-095B-9225-AF9B-DEFC1B61D2D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BE" sz="6000" b="1" dirty="0">
                <a:solidFill>
                  <a:srgbClr val="2F5496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fr-BE" sz="6000" b="1" dirty="0" err="1">
                <a:solidFill>
                  <a:srgbClr val="2F5496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isting</a:t>
            </a:r>
            <a:r>
              <a:rPr lang="fr-BE" sz="6000" b="1" dirty="0">
                <a:solidFill>
                  <a:srgbClr val="2F5496"/>
                </a:solidFill>
                <a:effectLst/>
                <a:latin typeface="Calibri Light" panose="020F03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EMOS communication channels </a:t>
            </a:r>
            <a:endParaRPr lang="de-DE" b="1" dirty="0">
              <a:solidFill>
                <a:srgbClr val="2F5496"/>
              </a:solidFill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58F595C-840C-15FF-E6CA-72AC82AFBA8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IE" dirty="0"/>
          </a:p>
        </p:txBody>
      </p:sp>
    </p:spTree>
    <p:extLst>
      <p:ext uri="{BB962C8B-B14F-4D97-AF65-F5344CB8AC3E}">
        <p14:creationId xmlns:p14="http://schemas.microsoft.com/office/powerpoint/2010/main" val="17220585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5B00480-03DA-552E-486A-34338C7868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3200" dirty="0"/>
              <a:t>EMOS </a:t>
            </a:r>
            <a:r>
              <a:rPr lang="de-DE" sz="3200" dirty="0" err="1"/>
              <a:t>webpages</a:t>
            </a:r>
            <a:endParaRPr lang="en-001" sz="3200" dirty="0"/>
          </a:p>
          <a:p>
            <a:pPr lvl="1"/>
            <a:r>
              <a:rPr lang="en-001" sz="2800" dirty="0"/>
              <a:t>Central, run by EMOS secretariat</a:t>
            </a:r>
          </a:p>
          <a:p>
            <a:pPr lvl="1"/>
            <a:r>
              <a:rPr lang="en-001" sz="2800" dirty="0"/>
              <a:t>Network partners – universities &amp; statistics producers</a:t>
            </a:r>
            <a:endParaRPr lang="de-DE" sz="2800" dirty="0"/>
          </a:p>
          <a:p>
            <a:r>
              <a:rPr lang="de-DE" sz="3200" dirty="0" err="1"/>
              <a:t>Social</a:t>
            </a:r>
            <a:r>
              <a:rPr lang="de-DE" sz="3200" dirty="0"/>
              <a:t> </a:t>
            </a:r>
            <a:r>
              <a:rPr lang="de-DE" sz="3200" dirty="0" err="1"/>
              <a:t>media</a:t>
            </a:r>
            <a:r>
              <a:rPr lang="de-DE" sz="3200" dirty="0"/>
              <a:t> </a:t>
            </a:r>
            <a:r>
              <a:rPr lang="de-DE" sz="3200" dirty="0" err="1"/>
              <a:t>channels</a:t>
            </a:r>
            <a:r>
              <a:rPr lang="de-DE" sz="3200" dirty="0"/>
              <a:t> </a:t>
            </a:r>
          </a:p>
          <a:p>
            <a:r>
              <a:rPr lang="en-GB" sz="3200" dirty="0"/>
              <a:t>EMOS network – mailing lists</a:t>
            </a:r>
            <a:endParaRPr lang="de-DE" sz="3200" dirty="0"/>
          </a:p>
          <a:p>
            <a:endParaRPr lang="en-IE" sz="32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 err="1"/>
              <a:t>Existing</a:t>
            </a:r>
            <a:r>
              <a:rPr lang="de-DE" dirty="0"/>
              <a:t> EMOS </a:t>
            </a:r>
            <a:r>
              <a:rPr lang="de-DE" dirty="0" err="1"/>
              <a:t>communication</a:t>
            </a:r>
            <a:r>
              <a:rPr lang="de-DE" dirty="0"/>
              <a:t> </a:t>
            </a:r>
            <a:r>
              <a:rPr lang="de-DE" dirty="0" err="1"/>
              <a:t>channels</a:t>
            </a:r>
            <a:r>
              <a:rPr lang="de-DE" dirty="0"/>
              <a:t> 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3608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5B00480-03DA-552E-486A-34338C7868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3424" y="2881426"/>
            <a:ext cx="2723723" cy="1672030"/>
          </a:xfrm>
        </p:spPr>
        <p:txBody>
          <a:bodyPr/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US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New EMOS webpages </a:t>
            </a:r>
            <a:r>
              <a:rPr lang="en-US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published in January 2024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76B9323-7853-1212-26A6-D7DD5EE59B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9675507" cy="782357"/>
          </a:xfrm>
        </p:spPr>
        <p:txBody>
          <a:bodyPr/>
          <a:lstStyle/>
          <a:p>
            <a:r>
              <a:rPr lang="de-DE" dirty="0"/>
              <a:t>EMOS </a:t>
            </a:r>
            <a:r>
              <a:rPr lang="de-DE" dirty="0" err="1"/>
              <a:t>webpages</a:t>
            </a:r>
            <a:r>
              <a:rPr lang="de-DE" dirty="0"/>
              <a:t> </a:t>
            </a:r>
            <a:endParaRPr lang="en-IE" dirty="0"/>
          </a:p>
        </p:txBody>
      </p:sp>
      <p:pic>
        <p:nvPicPr>
          <p:cNvPr id="5" name="Picture 4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B0365A3-9131-4866-913A-1D70F36858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088A008-7EA2-1FB3-624D-1FBDDC0BCB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0978" y="1265217"/>
            <a:ext cx="7573298" cy="4566073"/>
          </a:xfrm>
          <a:prstGeom prst="rect">
            <a:avLst/>
          </a:prstGeom>
        </p:spPr>
      </p:pic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22BBFF6-64E6-02FE-9C1B-CEC15430B8FC}"/>
              </a:ext>
            </a:extLst>
          </p:cNvPr>
          <p:cNvSpPr txBox="1">
            <a:spLocks/>
          </p:cNvSpPr>
          <p:nvPr/>
        </p:nvSpPr>
        <p:spPr>
          <a:xfrm>
            <a:off x="378860" y="6071733"/>
            <a:ext cx="10467975" cy="108382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8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 b="1" dirty="0">
                <a:highlight>
                  <a:srgbClr val="00FF00"/>
                </a:highligh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w URL address</a:t>
            </a:r>
            <a:r>
              <a:rPr lang="en-US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US" b="1" u="sng" dirty="0">
                <a:solidFill>
                  <a:srgbClr val="00609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4"/>
              </a:rPr>
              <a:t>https://cros.ec.europa.eu/dashboard/emos-dashboard</a:t>
            </a:r>
            <a:endParaRPr lang="en-IE" sz="4000" b="1" dirty="0"/>
          </a:p>
        </p:txBody>
      </p:sp>
    </p:spTree>
    <p:extLst>
      <p:ext uri="{BB962C8B-B14F-4D97-AF65-F5344CB8AC3E}">
        <p14:creationId xmlns:p14="http://schemas.microsoft.com/office/powerpoint/2010/main" val="41546785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E3AF59-619B-AC1D-686B-24F2ADB0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b">
            <a:normAutofit/>
          </a:bodyPr>
          <a:lstStyle/>
          <a:p>
            <a:r>
              <a:rPr lang="de-DE" dirty="0"/>
              <a:t>EMOS </a:t>
            </a:r>
            <a:r>
              <a:rPr lang="de-DE" dirty="0" err="1"/>
              <a:t>webpages</a:t>
            </a:r>
            <a:r>
              <a:rPr lang="de-DE" dirty="0"/>
              <a:t> - </a:t>
            </a:r>
            <a:r>
              <a:rPr lang="de-DE" dirty="0" err="1"/>
              <a:t>call</a:t>
            </a:r>
            <a:r>
              <a:rPr lang="de-DE" dirty="0"/>
              <a:t> for </a:t>
            </a:r>
            <a:r>
              <a:rPr lang="de-DE" dirty="0" err="1"/>
              <a:t>action</a:t>
            </a:r>
            <a:r>
              <a:rPr lang="de-DE" dirty="0"/>
              <a:t> (1) </a:t>
            </a:r>
          </a:p>
        </p:txBody>
      </p:sp>
      <p:graphicFrame>
        <p:nvGraphicFramePr>
          <p:cNvPr id="5" name="Content Placeholder 1">
            <a:extLst>
              <a:ext uri="{FF2B5EF4-FFF2-40B4-BE49-F238E27FC236}">
                <a16:creationId xmlns:a16="http://schemas.microsoft.com/office/drawing/2014/main" id="{D65C9444-E45C-CD31-8637-5996DDE3765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8680360"/>
              </p:ext>
            </p:extLst>
          </p:nvPr>
        </p:nvGraphicFramePr>
        <p:xfrm>
          <a:off x="838199" y="1825625"/>
          <a:ext cx="10905699" cy="38819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" name="Picture 1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2E8EF2BC-A829-CFE4-5FA9-AE2A0937FE9A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81407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3E3AF59-619B-AC1D-686B-24F2ADB0E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0722" y="482860"/>
            <a:ext cx="10515600" cy="782357"/>
          </a:xfrm>
        </p:spPr>
        <p:txBody>
          <a:bodyPr anchor="b">
            <a:normAutofit/>
          </a:bodyPr>
          <a:lstStyle/>
          <a:p>
            <a:r>
              <a:rPr lang="de-DE"/>
              <a:t>EMOS webpages - call for action </a:t>
            </a:r>
            <a:r>
              <a:rPr lang="de-DE" dirty="0"/>
              <a:t>(2) </a:t>
            </a:r>
          </a:p>
        </p:txBody>
      </p:sp>
      <p:pic>
        <p:nvPicPr>
          <p:cNvPr id="11" name="Picture 10" descr="A group of flags on a white background&#10;&#10;Description automatically generated">
            <a:extLst>
              <a:ext uri="{FF2B5EF4-FFF2-40B4-BE49-F238E27FC236}">
                <a16:creationId xmlns:a16="http://schemas.microsoft.com/office/drawing/2014/main" id="{4EC0BBBF-C11F-AA07-718A-4A59BBBE46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53050" y="1397592"/>
            <a:ext cx="6236272" cy="4342808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33A6F72-4009-BE0A-95BA-8AA75926862A}"/>
              </a:ext>
            </a:extLst>
          </p:cNvPr>
          <p:cNvSpPr/>
          <p:nvPr/>
        </p:nvSpPr>
        <p:spPr>
          <a:xfrm>
            <a:off x="643151" y="1895475"/>
            <a:ext cx="3852650" cy="3571875"/>
          </a:xfrm>
          <a:prstGeom prst="roundRect">
            <a:avLst>
              <a:gd name="adj" fmla="val 10000"/>
            </a:avLst>
          </a:prstGeom>
        </p:spPr>
        <p:style>
          <a:lnRef idx="0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r>
              <a:rPr lang="en-US" sz="2500" dirty="0"/>
              <a:t>Review and send an update for your EMOS-labelled </a:t>
            </a:r>
            <a:r>
              <a:rPr lang="en-US" sz="2500" dirty="0" err="1"/>
              <a:t>programme</a:t>
            </a:r>
            <a:r>
              <a:rPr lang="en-US" sz="2500" dirty="0"/>
              <a:t> description:</a:t>
            </a:r>
          </a:p>
          <a:p>
            <a:r>
              <a:rPr lang="en-US" sz="2500" dirty="0"/>
              <a:t> </a:t>
            </a:r>
          </a:p>
          <a:p>
            <a:r>
              <a:rPr lang="en-US" sz="2000" dirty="0">
                <a:hlinkClick r:id="rId3"/>
              </a:rPr>
              <a:t>https://cros.ec.europa.eu/book-page/emos-programmes-across-europe-0</a:t>
            </a:r>
            <a:r>
              <a:rPr lang="en-US" sz="2000" dirty="0"/>
              <a:t>  </a:t>
            </a:r>
          </a:p>
          <a:p>
            <a:endParaRPr lang="de-DE" dirty="0"/>
          </a:p>
        </p:txBody>
      </p:sp>
      <p:pic>
        <p:nvPicPr>
          <p:cNvPr id="2" name="Picture 1" descr="A logo with colorful circles and lines&#10;&#10;Description automatically generated">
            <a:extLst>
              <a:ext uri="{FF2B5EF4-FFF2-40B4-BE49-F238E27FC236}">
                <a16:creationId xmlns:a16="http://schemas.microsoft.com/office/drawing/2014/main" id="{872D1F79-ABE4-7EB4-D714-F5D9907ECEE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65" t="25595" r="11578" b="23614"/>
          <a:stretch/>
        </p:blipFill>
        <p:spPr>
          <a:xfrm>
            <a:off x="10739336" y="292451"/>
            <a:ext cx="1221131" cy="972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062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C_Corporate_PPT_Template.potx" id="{4E874F3A-6BB1-4334-AA3C-CB69D53C2FB0}" vid="{CFDAC62F-BBD6-4674-995E-7A3058955A70}"/>
    </a:ext>
  </a:extLst>
</a:theme>
</file>

<file path=ppt/theme/theme2.xml><?xml version="1.0" encoding="utf-8"?>
<a:theme xmlns:a="http://schemas.openxmlformats.org/drawingml/2006/main" name="1_Office Theme">
  <a:themeElements>
    <a:clrScheme name="EC colour scheme">
      <a:dk1>
        <a:srgbClr val="4D4D4D"/>
      </a:dk1>
      <a:lt1>
        <a:srgbClr val="FFFFFF"/>
      </a:lt1>
      <a:dk2>
        <a:srgbClr val="034EA2"/>
      </a:dk2>
      <a:lt2>
        <a:srgbClr val="D3E8F9"/>
      </a:lt2>
      <a:accent1>
        <a:srgbClr val="1E858B"/>
      </a:accent1>
      <a:accent2>
        <a:srgbClr val="4BC5DE"/>
      </a:accent2>
      <a:accent3>
        <a:srgbClr val="1EC08A"/>
      </a:accent3>
      <a:accent4>
        <a:srgbClr val="ED8D2F"/>
      </a:accent4>
      <a:accent5>
        <a:srgbClr val="FFC000"/>
      </a:accent5>
      <a:accent6>
        <a:srgbClr val="E76C53"/>
      </a:accent6>
      <a:hlink>
        <a:srgbClr val="0563C1"/>
      </a:hlink>
      <a:folHlink>
        <a:srgbClr val="24337E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y EC Presentation1.potx" id="{3D11BB43-3887-47A7-AAE7-2E2C2CB8B96B}" vid="{08C6B1FF-AFDD-4B4F-9ED5-8EF5EB6B0C8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17</Words>
  <Application>Microsoft Office PowerPoint</Application>
  <PresentationFormat>Widescreen</PresentationFormat>
  <Paragraphs>158</Paragraphs>
  <Slides>3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5" baseType="lpstr">
      <vt:lpstr>Arial</vt:lpstr>
      <vt:lpstr>Calibri</vt:lpstr>
      <vt:lpstr>Calibri Light</vt:lpstr>
      <vt:lpstr>Office Theme</vt:lpstr>
      <vt:lpstr>1_Office Theme</vt:lpstr>
      <vt:lpstr>think-cell Slide</vt:lpstr>
      <vt:lpstr>EMOS network meeting  EMOS communication activities </vt:lpstr>
      <vt:lpstr>Agenda  1. Introduction  2. Existing EMOS communication channels   3. Ideas for new actions  4. Related news </vt:lpstr>
      <vt:lpstr>Introduction</vt:lpstr>
      <vt:lpstr>Introduction </vt:lpstr>
      <vt:lpstr>2. Existing EMOS communication channels </vt:lpstr>
      <vt:lpstr>Existing EMOS communication channels </vt:lpstr>
      <vt:lpstr>EMOS webpages </vt:lpstr>
      <vt:lpstr>EMOS webpages - call for action (1) </vt:lpstr>
      <vt:lpstr>EMOS webpages - call for action (2) </vt:lpstr>
      <vt:lpstr>EMOS network partners webpages</vt:lpstr>
      <vt:lpstr>EMOS network partners webpages</vt:lpstr>
      <vt:lpstr>EMOS network partners webpages</vt:lpstr>
      <vt:lpstr>Social media channels</vt:lpstr>
      <vt:lpstr>LinkedIn</vt:lpstr>
      <vt:lpstr>YouTube</vt:lpstr>
      <vt:lpstr>YouTube</vt:lpstr>
      <vt:lpstr>YouTube EMOS promotional video</vt:lpstr>
      <vt:lpstr>Social media channels</vt:lpstr>
      <vt:lpstr>Social media channels - call for action </vt:lpstr>
      <vt:lpstr>EMOS network – mailing lists</vt:lpstr>
      <vt:lpstr>EMOS network – mailing lists – call for action </vt:lpstr>
      <vt:lpstr>Discussion</vt:lpstr>
      <vt:lpstr>3. Ideas for new actions</vt:lpstr>
      <vt:lpstr>Ideas for new actions</vt:lpstr>
      <vt:lpstr>  Section on EMOS students</vt:lpstr>
      <vt:lpstr>  Section on EMOS network members</vt:lpstr>
      <vt:lpstr>EMOS research projects section on the EMOS webpages </vt:lpstr>
      <vt:lpstr>Creation of dedicated groups linked to the EMOS LinkedIn page</vt:lpstr>
      <vt:lpstr>Creation of dedicated groups linked to the EMOS LinkedIn page</vt:lpstr>
      <vt:lpstr>EMOS presentations for EMOS network members by the EMOS secretariat</vt:lpstr>
      <vt:lpstr>Overview of proposals</vt:lpstr>
      <vt:lpstr>Discussion</vt:lpstr>
      <vt:lpstr>EMOS network meetings 2023/2024</vt:lpstr>
      <vt:lpstr>EMOS network meetings - upcoming</vt:lpstr>
      <vt:lpstr>EMOS network meetings - discussion</vt:lpstr>
      <vt:lpstr>4. Related news</vt:lpstr>
      <vt:lpstr>Information on ongoing/upcoming events</vt:lpstr>
      <vt:lpstr>Any other questions?</vt:lpstr>
      <vt:lpstr>Thank you!</vt:lpstr>
    </vt:vector>
  </TitlesOfParts>
  <Company>European Commis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novation activities in the  European Statistical System</dc:title>
  <dc:creator>ISLAM Maja (ESTAT)</dc:creator>
  <cp:lastModifiedBy>STEENVOORDEN Tina (ESTAT-EXT)</cp:lastModifiedBy>
  <cp:revision>79</cp:revision>
  <dcterms:created xsi:type="dcterms:W3CDTF">2023-10-05T08:31:58Z</dcterms:created>
  <dcterms:modified xsi:type="dcterms:W3CDTF">2024-03-21T09:54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bd9ddd1-4d20-43f6-abfa-fc3c07406f94_Enabled">
    <vt:lpwstr>true</vt:lpwstr>
  </property>
  <property fmtid="{D5CDD505-2E9C-101B-9397-08002B2CF9AE}" pid="3" name="MSIP_Label_6bd9ddd1-4d20-43f6-abfa-fc3c07406f94_SetDate">
    <vt:lpwstr>2023-10-05T08:32:00Z</vt:lpwstr>
  </property>
  <property fmtid="{D5CDD505-2E9C-101B-9397-08002B2CF9AE}" pid="4" name="MSIP_Label_6bd9ddd1-4d20-43f6-abfa-fc3c07406f94_Method">
    <vt:lpwstr>Standard</vt:lpwstr>
  </property>
  <property fmtid="{D5CDD505-2E9C-101B-9397-08002B2CF9AE}" pid="5" name="MSIP_Label_6bd9ddd1-4d20-43f6-abfa-fc3c07406f94_Name">
    <vt:lpwstr>Commission Use</vt:lpwstr>
  </property>
  <property fmtid="{D5CDD505-2E9C-101B-9397-08002B2CF9AE}" pid="6" name="MSIP_Label_6bd9ddd1-4d20-43f6-abfa-fc3c07406f94_SiteId">
    <vt:lpwstr>b24c8b06-522c-46fe-9080-70926f8dddb1</vt:lpwstr>
  </property>
  <property fmtid="{D5CDD505-2E9C-101B-9397-08002B2CF9AE}" pid="7" name="MSIP_Label_6bd9ddd1-4d20-43f6-abfa-fc3c07406f94_ActionId">
    <vt:lpwstr>1d13c4f1-ffe9-4242-bacd-28eebbe0458a</vt:lpwstr>
  </property>
  <property fmtid="{D5CDD505-2E9C-101B-9397-08002B2CF9AE}" pid="8" name="MSIP_Label_6bd9ddd1-4d20-43f6-abfa-fc3c07406f94_ContentBits">
    <vt:lpwstr>0</vt:lpwstr>
  </property>
</Properties>
</file>